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7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8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720" r:id="rId3"/>
    <p:sldMasterId id="2147483764" r:id="rId4"/>
    <p:sldMasterId id="2147483806" r:id="rId5"/>
    <p:sldMasterId id="2147483848" r:id="rId6"/>
    <p:sldMasterId id="2147483890" r:id="rId7"/>
    <p:sldMasterId id="2147483932" r:id="rId8"/>
  </p:sldMasterIdLst>
  <p:notesMasterIdLst>
    <p:notesMasterId r:id="rId22"/>
  </p:notesMasterIdLst>
  <p:sldIdLst>
    <p:sldId id="2088197052" r:id="rId9"/>
    <p:sldId id="2088197041" r:id="rId10"/>
    <p:sldId id="256" r:id="rId11"/>
    <p:sldId id="257" r:id="rId12"/>
    <p:sldId id="675" r:id="rId13"/>
    <p:sldId id="258" r:id="rId14"/>
    <p:sldId id="674" r:id="rId15"/>
    <p:sldId id="676" r:id="rId16"/>
    <p:sldId id="2088197050" r:id="rId17"/>
    <p:sldId id="2088197049" r:id="rId18"/>
    <p:sldId id="2088197051" r:id="rId19"/>
    <p:sldId id="2088197043" r:id="rId20"/>
    <p:sldId id="2088197042" r:id="rId2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28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499F95-F535-486E-93FD-FDA1BBFDD95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8431938-A8D7-4AFA-8A95-239D6663E2D9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400" b="1" dirty="0">
              <a:solidFill>
                <a:schemeClr val="tx1"/>
              </a:solidFill>
            </a:rPr>
            <a:t>Donation</a:t>
          </a:r>
        </a:p>
      </dgm:t>
    </dgm:pt>
    <dgm:pt modelId="{97B80CAB-03F3-4451-A8FB-7CBA758431AD}" type="parTrans" cxnId="{01820E1E-7329-42E4-8F72-5D4E3B7AA31E}">
      <dgm:prSet/>
      <dgm:spPr/>
      <dgm:t>
        <a:bodyPr/>
        <a:lstStyle/>
        <a:p>
          <a:endParaRPr lang="en-US"/>
        </a:p>
      </dgm:t>
    </dgm:pt>
    <dgm:pt modelId="{0CD483C9-A9BE-45EE-BF02-2ADA59DF1F73}" type="sibTrans" cxnId="{01820E1E-7329-42E4-8F72-5D4E3B7AA31E}">
      <dgm:prSet/>
      <dgm:spPr/>
      <dgm:t>
        <a:bodyPr/>
        <a:lstStyle/>
        <a:p>
          <a:endParaRPr lang="en-US"/>
        </a:p>
      </dgm:t>
    </dgm:pt>
    <dgm:pt modelId="{A83FA2DC-2CB6-49C3-B612-B3921F7401CF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dirty="0"/>
            <a:t>Members of the general public contributing to a Campaign fund in the form of Ether</a:t>
          </a:r>
        </a:p>
      </dgm:t>
    </dgm:pt>
    <dgm:pt modelId="{DBE423FB-8B35-48A7-AC61-578C32D858E4}" type="parTrans" cxnId="{63242EFD-84B9-46DA-82F8-C0523037C87E}">
      <dgm:prSet/>
      <dgm:spPr/>
      <dgm:t>
        <a:bodyPr/>
        <a:lstStyle/>
        <a:p>
          <a:endParaRPr lang="en-US"/>
        </a:p>
      </dgm:t>
    </dgm:pt>
    <dgm:pt modelId="{32F2E0FD-F579-4030-8BB7-6AC2BA56DF45}" type="sibTrans" cxnId="{63242EFD-84B9-46DA-82F8-C0523037C87E}">
      <dgm:prSet/>
      <dgm:spPr/>
      <dgm:t>
        <a:bodyPr/>
        <a:lstStyle/>
        <a:p>
          <a:endParaRPr lang="en-US"/>
        </a:p>
      </dgm:t>
    </dgm:pt>
    <dgm:pt modelId="{B26F4E86-6510-4112-ACC0-E148890741DE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400" b="1" dirty="0">
              <a:solidFill>
                <a:schemeClr val="tx1"/>
              </a:solidFill>
            </a:rPr>
            <a:t>Spending Request </a:t>
          </a:r>
          <a:endParaRPr lang="en-US" sz="1400" dirty="0">
            <a:solidFill>
              <a:schemeClr val="tx1"/>
            </a:solidFill>
          </a:endParaRPr>
        </a:p>
      </dgm:t>
    </dgm:pt>
    <dgm:pt modelId="{51F692DD-D4FE-459C-A713-0523FF37CA83}" type="parTrans" cxnId="{99A60958-6353-4C7B-B7A0-70A3A24B2F45}">
      <dgm:prSet/>
      <dgm:spPr/>
      <dgm:t>
        <a:bodyPr/>
        <a:lstStyle/>
        <a:p>
          <a:endParaRPr lang="en-US"/>
        </a:p>
      </dgm:t>
    </dgm:pt>
    <dgm:pt modelId="{1511E86D-BD0C-42DA-B9EA-8DD1A2E23261}" type="sibTrans" cxnId="{99A60958-6353-4C7B-B7A0-70A3A24B2F45}">
      <dgm:prSet/>
      <dgm:spPr/>
      <dgm:t>
        <a:bodyPr/>
        <a:lstStyle/>
        <a:p>
          <a:endParaRPr lang="en-US"/>
        </a:p>
      </dgm:t>
    </dgm:pt>
    <dgm:pt modelId="{104FC633-A11F-4AAD-9693-F91FD986B84D}">
      <dgm:prSet phldrT="[Text]"/>
      <dgm:spPr/>
      <dgm:t>
        <a:bodyPr/>
        <a:lstStyle/>
        <a:p>
          <a:r>
            <a:rPr lang="en-US" dirty="0"/>
            <a:t>Manager creating a Request to disburse certain amount of that Campaign fund to a vendor by specifying the Vendor Ether wallet address, Ether Amount, and purpose of that Expenditure</a:t>
          </a:r>
        </a:p>
      </dgm:t>
    </dgm:pt>
    <dgm:pt modelId="{A727AFE1-A153-41FC-9FFA-DED8790FAA11}" type="parTrans" cxnId="{B8DB4E68-2FF0-415A-B6AA-0334B1838486}">
      <dgm:prSet/>
      <dgm:spPr/>
      <dgm:t>
        <a:bodyPr/>
        <a:lstStyle/>
        <a:p>
          <a:endParaRPr lang="en-US"/>
        </a:p>
      </dgm:t>
    </dgm:pt>
    <dgm:pt modelId="{A28A567A-F2B1-4373-9B5A-92E308670DA1}" type="sibTrans" cxnId="{B8DB4E68-2FF0-415A-B6AA-0334B1838486}">
      <dgm:prSet/>
      <dgm:spPr/>
      <dgm:t>
        <a:bodyPr/>
        <a:lstStyle/>
        <a:p>
          <a:endParaRPr lang="en-US"/>
        </a:p>
      </dgm:t>
    </dgm:pt>
    <dgm:pt modelId="{029370C2-C1E6-4385-A7EF-5F80E4F4777C}">
      <dgm:prSet phldrT="[Text]"/>
      <dgm:spPr>
        <a:solidFill>
          <a:srgbClr val="92D050"/>
        </a:solidFill>
      </dgm:spPr>
      <dgm:t>
        <a:bodyPr/>
        <a:lstStyle/>
        <a:p>
          <a:r>
            <a:rPr lang="en-US" b="1" dirty="0">
              <a:solidFill>
                <a:schemeClr val="tx1"/>
              </a:solidFill>
            </a:rPr>
            <a:t>Approval</a:t>
          </a:r>
          <a:endParaRPr lang="en-US" dirty="0">
            <a:solidFill>
              <a:schemeClr val="tx1"/>
            </a:solidFill>
          </a:endParaRPr>
        </a:p>
      </dgm:t>
    </dgm:pt>
    <dgm:pt modelId="{D7442E1E-8A94-492F-B224-7C773F11C7F1}" type="parTrans" cxnId="{51616A00-6809-4023-BFBC-EA1516684936}">
      <dgm:prSet/>
      <dgm:spPr/>
      <dgm:t>
        <a:bodyPr/>
        <a:lstStyle/>
        <a:p>
          <a:endParaRPr lang="en-US"/>
        </a:p>
      </dgm:t>
    </dgm:pt>
    <dgm:pt modelId="{2E4FADE5-B857-4BEF-9634-E0DC58C54983}" type="sibTrans" cxnId="{51616A00-6809-4023-BFBC-EA1516684936}">
      <dgm:prSet/>
      <dgm:spPr/>
      <dgm:t>
        <a:bodyPr/>
        <a:lstStyle/>
        <a:p>
          <a:endParaRPr lang="en-US"/>
        </a:p>
      </dgm:t>
    </dgm:pt>
    <dgm:pt modelId="{F5996E30-43DE-4CBB-A55C-FB17604962D2}">
      <dgm:prSet phldrT="[Text]"/>
      <dgm:spPr/>
      <dgm:t>
        <a:bodyPr/>
        <a:lstStyle/>
        <a:p>
          <a:r>
            <a:rPr lang="en-US" dirty="0"/>
            <a:t>Approval from more than 50% of the Donors on a particular Spending Request</a:t>
          </a:r>
        </a:p>
      </dgm:t>
    </dgm:pt>
    <dgm:pt modelId="{43567221-A60D-4DD9-829B-3BA75FC8C7E2}" type="parTrans" cxnId="{48BCADAD-6435-489C-9F77-928DC263292C}">
      <dgm:prSet/>
      <dgm:spPr/>
      <dgm:t>
        <a:bodyPr/>
        <a:lstStyle/>
        <a:p>
          <a:endParaRPr lang="en-US"/>
        </a:p>
      </dgm:t>
    </dgm:pt>
    <dgm:pt modelId="{5A725FCC-024A-4C37-81ED-92718F424675}" type="sibTrans" cxnId="{48BCADAD-6435-489C-9F77-928DC263292C}">
      <dgm:prSet/>
      <dgm:spPr/>
      <dgm:t>
        <a:bodyPr/>
        <a:lstStyle/>
        <a:p>
          <a:endParaRPr lang="en-US"/>
        </a:p>
      </dgm:t>
    </dgm:pt>
    <dgm:pt modelId="{1B3A079A-B565-4A4C-90AD-F5B7310EFAFB}">
      <dgm:prSet phldrT="[Text]"/>
      <dgm:spPr>
        <a:solidFill>
          <a:srgbClr val="92D050"/>
        </a:solidFill>
      </dgm:spPr>
      <dgm:t>
        <a:bodyPr/>
        <a:lstStyle/>
        <a:p>
          <a:r>
            <a:rPr lang="en-US" b="1" dirty="0" err="1">
              <a:solidFill>
                <a:schemeClr val="tx1"/>
              </a:solidFill>
            </a:rPr>
            <a:t>Finalisation</a:t>
          </a:r>
          <a:endParaRPr lang="en-US" dirty="0">
            <a:solidFill>
              <a:schemeClr val="tx1"/>
            </a:solidFill>
          </a:endParaRPr>
        </a:p>
      </dgm:t>
    </dgm:pt>
    <dgm:pt modelId="{FD8839DE-864F-46C7-8A98-7B8C5F771B30}" type="parTrans" cxnId="{8D6D4A01-43EA-4889-AFE4-FBC8BF7C152F}">
      <dgm:prSet/>
      <dgm:spPr/>
      <dgm:t>
        <a:bodyPr/>
        <a:lstStyle/>
        <a:p>
          <a:endParaRPr lang="en-US"/>
        </a:p>
      </dgm:t>
    </dgm:pt>
    <dgm:pt modelId="{35D5CF1C-3A18-451B-A6DE-7988CAD797C1}" type="sibTrans" cxnId="{8D6D4A01-43EA-4889-AFE4-FBC8BF7C152F}">
      <dgm:prSet/>
      <dgm:spPr/>
      <dgm:t>
        <a:bodyPr/>
        <a:lstStyle/>
        <a:p>
          <a:endParaRPr lang="en-US"/>
        </a:p>
      </dgm:t>
    </dgm:pt>
    <dgm:pt modelId="{22A97C9B-94CF-4FA4-826D-A5CDA018E4DC}">
      <dgm:prSet phldrT="[Text]"/>
      <dgm:spPr/>
      <dgm:t>
        <a:bodyPr/>
        <a:lstStyle/>
        <a:p>
          <a:r>
            <a:rPr lang="en-US" dirty="0"/>
            <a:t>Manager sending over the payment to the vendor after getting approval</a:t>
          </a:r>
        </a:p>
      </dgm:t>
    </dgm:pt>
    <dgm:pt modelId="{72B353E1-7D89-48DB-A7E8-66870B6C9F0F}" type="parTrans" cxnId="{1CAB57A4-FC5C-438D-B562-030307DB978B}">
      <dgm:prSet/>
      <dgm:spPr/>
      <dgm:t>
        <a:bodyPr/>
        <a:lstStyle/>
        <a:p>
          <a:endParaRPr lang="en-US"/>
        </a:p>
      </dgm:t>
    </dgm:pt>
    <dgm:pt modelId="{10F79904-923F-4B84-80B3-3E3FB87DBF36}" type="sibTrans" cxnId="{1CAB57A4-FC5C-438D-B562-030307DB978B}">
      <dgm:prSet/>
      <dgm:spPr/>
      <dgm:t>
        <a:bodyPr/>
        <a:lstStyle/>
        <a:p>
          <a:endParaRPr lang="en-US"/>
        </a:p>
      </dgm:t>
    </dgm:pt>
    <dgm:pt modelId="{80FB67A1-C746-46D8-8DCE-450BDEFA5A0F}" type="pres">
      <dgm:prSet presAssocID="{7B499F95-F535-486E-93FD-FDA1BBFDD959}" presName="linearFlow" presStyleCnt="0">
        <dgm:presLayoutVars>
          <dgm:dir/>
          <dgm:animLvl val="lvl"/>
          <dgm:resizeHandles val="exact"/>
        </dgm:presLayoutVars>
      </dgm:prSet>
      <dgm:spPr/>
    </dgm:pt>
    <dgm:pt modelId="{70CB8AEA-F36B-42AC-87BE-35882E4F198C}" type="pres">
      <dgm:prSet presAssocID="{F8431938-A8D7-4AFA-8A95-239D6663E2D9}" presName="composite" presStyleCnt="0"/>
      <dgm:spPr/>
    </dgm:pt>
    <dgm:pt modelId="{E238DA67-F9CA-42FD-B005-3994DCD2C71E}" type="pres">
      <dgm:prSet presAssocID="{F8431938-A8D7-4AFA-8A95-239D6663E2D9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59C0040B-1391-46A7-A753-08BC63279767}" type="pres">
      <dgm:prSet presAssocID="{F8431938-A8D7-4AFA-8A95-239D6663E2D9}" presName="descendantText" presStyleLbl="alignAcc1" presStyleIdx="0" presStyleCnt="4">
        <dgm:presLayoutVars>
          <dgm:bulletEnabled val="1"/>
        </dgm:presLayoutVars>
      </dgm:prSet>
      <dgm:spPr/>
    </dgm:pt>
    <dgm:pt modelId="{50267192-7DC9-4EEE-A246-6C69C6057ED0}" type="pres">
      <dgm:prSet presAssocID="{0CD483C9-A9BE-45EE-BF02-2ADA59DF1F73}" presName="sp" presStyleCnt="0"/>
      <dgm:spPr/>
    </dgm:pt>
    <dgm:pt modelId="{F18F2DE0-825F-415C-A88F-2B2B19BC8A9F}" type="pres">
      <dgm:prSet presAssocID="{B26F4E86-6510-4112-ACC0-E148890741DE}" presName="composite" presStyleCnt="0"/>
      <dgm:spPr/>
    </dgm:pt>
    <dgm:pt modelId="{AF7A17A2-56E5-4985-B7AD-0785C93F27D4}" type="pres">
      <dgm:prSet presAssocID="{B26F4E86-6510-4112-ACC0-E148890741DE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80C308CD-E614-4B2A-8845-8B0BFE0D710F}" type="pres">
      <dgm:prSet presAssocID="{B26F4E86-6510-4112-ACC0-E148890741DE}" presName="descendantText" presStyleLbl="alignAcc1" presStyleIdx="1" presStyleCnt="4">
        <dgm:presLayoutVars>
          <dgm:bulletEnabled val="1"/>
        </dgm:presLayoutVars>
      </dgm:prSet>
      <dgm:spPr/>
    </dgm:pt>
    <dgm:pt modelId="{65B4ED8A-F6F2-4921-83D7-DFB1D7019DCB}" type="pres">
      <dgm:prSet presAssocID="{1511E86D-BD0C-42DA-B9EA-8DD1A2E23261}" presName="sp" presStyleCnt="0"/>
      <dgm:spPr/>
    </dgm:pt>
    <dgm:pt modelId="{C93F58F8-B225-4B0A-B391-EC7DAC60BEAB}" type="pres">
      <dgm:prSet presAssocID="{029370C2-C1E6-4385-A7EF-5F80E4F4777C}" presName="composite" presStyleCnt="0"/>
      <dgm:spPr/>
    </dgm:pt>
    <dgm:pt modelId="{7ACC8E58-44B2-439B-B46D-33A69B1BE71F}" type="pres">
      <dgm:prSet presAssocID="{029370C2-C1E6-4385-A7EF-5F80E4F4777C}" presName="parentText" presStyleLbl="alignNode1" presStyleIdx="2" presStyleCnt="4" custLinFactNeighborX="-21585" custLinFactNeighborY="731">
        <dgm:presLayoutVars>
          <dgm:chMax val="1"/>
          <dgm:bulletEnabled val="1"/>
        </dgm:presLayoutVars>
      </dgm:prSet>
      <dgm:spPr/>
    </dgm:pt>
    <dgm:pt modelId="{3A6DC5D9-8E9A-4B04-9AC6-9A4F1CF085C1}" type="pres">
      <dgm:prSet presAssocID="{029370C2-C1E6-4385-A7EF-5F80E4F4777C}" presName="descendantText" presStyleLbl="alignAcc1" presStyleIdx="2" presStyleCnt="4">
        <dgm:presLayoutVars>
          <dgm:bulletEnabled val="1"/>
        </dgm:presLayoutVars>
      </dgm:prSet>
      <dgm:spPr/>
    </dgm:pt>
    <dgm:pt modelId="{857585BF-28C9-4DA1-8DEB-13C8EED052A5}" type="pres">
      <dgm:prSet presAssocID="{2E4FADE5-B857-4BEF-9634-E0DC58C54983}" presName="sp" presStyleCnt="0"/>
      <dgm:spPr/>
    </dgm:pt>
    <dgm:pt modelId="{F0DB4E0F-F846-4926-A925-852F6C35BB16}" type="pres">
      <dgm:prSet presAssocID="{1B3A079A-B565-4A4C-90AD-F5B7310EFAFB}" presName="composite" presStyleCnt="0"/>
      <dgm:spPr/>
    </dgm:pt>
    <dgm:pt modelId="{D1EDB8C1-67C8-4727-89FC-25F03B74EC87}" type="pres">
      <dgm:prSet presAssocID="{1B3A079A-B565-4A4C-90AD-F5B7310EFAFB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08E108D1-0339-4BCC-A70B-884686A12382}" type="pres">
      <dgm:prSet presAssocID="{1B3A079A-B565-4A4C-90AD-F5B7310EFAFB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51616A00-6809-4023-BFBC-EA1516684936}" srcId="{7B499F95-F535-486E-93FD-FDA1BBFDD959}" destId="{029370C2-C1E6-4385-A7EF-5F80E4F4777C}" srcOrd="2" destOrd="0" parTransId="{D7442E1E-8A94-492F-B224-7C773F11C7F1}" sibTransId="{2E4FADE5-B857-4BEF-9634-E0DC58C54983}"/>
    <dgm:cxn modelId="{8D6D4A01-43EA-4889-AFE4-FBC8BF7C152F}" srcId="{7B499F95-F535-486E-93FD-FDA1BBFDD959}" destId="{1B3A079A-B565-4A4C-90AD-F5B7310EFAFB}" srcOrd="3" destOrd="0" parTransId="{FD8839DE-864F-46C7-8A98-7B8C5F771B30}" sibTransId="{35D5CF1C-3A18-451B-A6DE-7988CAD797C1}"/>
    <dgm:cxn modelId="{01820E1E-7329-42E4-8F72-5D4E3B7AA31E}" srcId="{7B499F95-F535-486E-93FD-FDA1BBFDD959}" destId="{F8431938-A8D7-4AFA-8A95-239D6663E2D9}" srcOrd="0" destOrd="0" parTransId="{97B80CAB-03F3-4451-A8FB-7CBA758431AD}" sibTransId="{0CD483C9-A9BE-45EE-BF02-2ADA59DF1F73}"/>
    <dgm:cxn modelId="{90890C2A-3E53-4A7D-88D0-332F55C3F7E3}" type="presOf" srcId="{1B3A079A-B565-4A4C-90AD-F5B7310EFAFB}" destId="{D1EDB8C1-67C8-4727-89FC-25F03B74EC87}" srcOrd="0" destOrd="0" presId="urn:microsoft.com/office/officeart/2005/8/layout/chevron2"/>
    <dgm:cxn modelId="{97EC6F37-A595-4C48-8629-84DA9DDD6C8E}" type="presOf" srcId="{104FC633-A11F-4AAD-9693-F91FD986B84D}" destId="{80C308CD-E614-4B2A-8845-8B0BFE0D710F}" srcOrd="0" destOrd="0" presId="urn:microsoft.com/office/officeart/2005/8/layout/chevron2"/>
    <dgm:cxn modelId="{B8DB4E68-2FF0-415A-B6AA-0334B1838486}" srcId="{B26F4E86-6510-4112-ACC0-E148890741DE}" destId="{104FC633-A11F-4AAD-9693-F91FD986B84D}" srcOrd="0" destOrd="0" parTransId="{A727AFE1-A153-41FC-9FFA-DED8790FAA11}" sibTransId="{A28A567A-F2B1-4373-9B5A-92E308670DA1}"/>
    <dgm:cxn modelId="{B3F8B068-A5DD-4F06-93AD-69781CB58D70}" type="presOf" srcId="{029370C2-C1E6-4385-A7EF-5F80E4F4777C}" destId="{7ACC8E58-44B2-439B-B46D-33A69B1BE71F}" srcOrd="0" destOrd="0" presId="urn:microsoft.com/office/officeart/2005/8/layout/chevron2"/>
    <dgm:cxn modelId="{99A60958-6353-4C7B-B7A0-70A3A24B2F45}" srcId="{7B499F95-F535-486E-93FD-FDA1BBFDD959}" destId="{B26F4E86-6510-4112-ACC0-E148890741DE}" srcOrd="1" destOrd="0" parTransId="{51F692DD-D4FE-459C-A713-0523FF37CA83}" sibTransId="{1511E86D-BD0C-42DA-B9EA-8DD1A2E23261}"/>
    <dgm:cxn modelId="{4F1EC07D-7141-4F77-A39B-005954225BB0}" type="presOf" srcId="{7B499F95-F535-486E-93FD-FDA1BBFDD959}" destId="{80FB67A1-C746-46D8-8DCE-450BDEFA5A0F}" srcOrd="0" destOrd="0" presId="urn:microsoft.com/office/officeart/2005/8/layout/chevron2"/>
    <dgm:cxn modelId="{761B9C8A-590F-4953-87D7-E60DA8E61943}" type="presOf" srcId="{22A97C9B-94CF-4FA4-826D-A5CDA018E4DC}" destId="{08E108D1-0339-4BCC-A70B-884686A12382}" srcOrd="0" destOrd="0" presId="urn:microsoft.com/office/officeart/2005/8/layout/chevron2"/>
    <dgm:cxn modelId="{1CAB57A4-FC5C-438D-B562-030307DB978B}" srcId="{1B3A079A-B565-4A4C-90AD-F5B7310EFAFB}" destId="{22A97C9B-94CF-4FA4-826D-A5CDA018E4DC}" srcOrd="0" destOrd="0" parTransId="{72B353E1-7D89-48DB-A7E8-66870B6C9F0F}" sibTransId="{10F79904-923F-4B84-80B3-3E3FB87DBF36}"/>
    <dgm:cxn modelId="{48BCADAD-6435-489C-9F77-928DC263292C}" srcId="{029370C2-C1E6-4385-A7EF-5F80E4F4777C}" destId="{F5996E30-43DE-4CBB-A55C-FB17604962D2}" srcOrd="0" destOrd="0" parTransId="{43567221-A60D-4DD9-829B-3BA75FC8C7E2}" sibTransId="{5A725FCC-024A-4C37-81ED-92718F424675}"/>
    <dgm:cxn modelId="{588F6CB8-9707-490A-9344-CD008CC57226}" type="presOf" srcId="{A83FA2DC-2CB6-49C3-B612-B3921F7401CF}" destId="{59C0040B-1391-46A7-A753-08BC63279767}" srcOrd="0" destOrd="0" presId="urn:microsoft.com/office/officeart/2005/8/layout/chevron2"/>
    <dgm:cxn modelId="{A977EBED-66FF-4C98-8C9D-56376FA339E3}" type="presOf" srcId="{F8431938-A8D7-4AFA-8A95-239D6663E2D9}" destId="{E238DA67-F9CA-42FD-B005-3994DCD2C71E}" srcOrd="0" destOrd="0" presId="urn:microsoft.com/office/officeart/2005/8/layout/chevron2"/>
    <dgm:cxn modelId="{ACA39BF4-756D-46D9-A533-3A03E8CEDC8A}" type="presOf" srcId="{B26F4E86-6510-4112-ACC0-E148890741DE}" destId="{AF7A17A2-56E5-4985-B7AD-0785C93F27D4}" srcOrd="0" destOrd="0" presId="urn:microsoft.com/office/officeart/2005/8/layout/chevron2"/>
    <dgm:cxn modelId="{63242EFD-84B9-46DA-82F8-C0523037C87E}" srcId="{F8431938-A8D7-4AFA-8A95-239D6663E2D9}" destId="{A83FA2DC-2CB6-49C3-B612-B3921F7401CF}" srcOrd="0" destOrd="0" parTransId="{DBE423FB-8B35-48A7-AC61-578C32D858E4}" sibTransId="{32F2E0FD-F579-4030-8BB7-6AC2BA56DF45}"/>
    <dgm:cxn modelId="{EE00D8FF-2CB7-4AD8-AB03-2902D57AD5AC}" type="presOf" srcId="{F5996E30-43DE-4CBB-A55C-FB17604962D2}" destId="{3A6DC5D9-8E9A-4B04-9AC6-9A4F1CF085C1}" srcOrd="0" destOrd="0" presId="urn:microsoft.com/office/officeart/2005/8/layout/chevron2"/>
    <dgm:cxn modelId="{84EDC081-7533-40EF-9F9F-0F83F9D99D00}" type="presParOf" srcId="{80FB67A1-C746-46D8-8DCE-450BDEFA5A0F}" destId="{70CB8AEA-F36B-42AC-87BE-35882E4F198C}" srcOrd="0" destOrd="0" presId="urn:microsoft.com/office/officeart/2005/8/layout/chevron2"/>
    <dgm:cxn modelId="{0F78C1CC-BE1D-4EE0-A965-AE4E774A2E8E}" type="presParOf" srcId="{70CB8AEA-F36B-42AC-87BE-35882E4F198C}" destId="{E238DA67-F9CA-42FD-B005-3994DCD2C71E}" srcOrd="0" destOrd="0" presId="urn:microsoft.com/office/officeart/2005/8/layout/chevron2"/>
    <dgm:cxn modelId="{FCDA0ACB-A8B2-4515-BE78-A3F9DA42A762}" type="presParOf" srcId="{70CB8AEA-F36B-42AC-87BE-35882E4F198C}" destId="{59C0040B-1391-46A7-A753-08BC63279767}" srcOrd="1" destOrd="0" presId="urn:microsoft.com/office/officeart/2005/8/layout/chevron2"/>
    <dgm:cxn modelId="{2573FFC0-C4C7-4AEC-9A2B-FA7CC0D56E90}" type="presParOf" srcId="{80FB67A1-C746-46D8-8DCE-450BDEFA5A0F}" destId="{50267192-7DC9-4EEE-A246-6C69C6057ED0}" srcOrd="1" destOrd="0" presId="urn:microsoft.com/office/officeart/2005/8/layout/chevron2"/>
    <dgm:cxn modelId="{DFA78179-6B09-471D-BF00-4DE8B303F6FE}" type="presParOf" srcId="{80FB67A1-C746-46D8-8DCE-450BDEFA5A0F}" destId="{F18F2DE0-825F-415C-A88F-2B2B19BC8A9F}" srcOrd="2" destOrd="0" presId="urn:microsoft.com/office/officeart/2005/8/layout/chevron2"/>
    <dgm:cxn modelId="{46D39A5E-B8AC-4990-8CFC-4A731BA82FA4}" type="presParOf" srcId="{F18F2DE0-825F-415C-A88F-2B2B19BC8A9F}" destId="{AF7A17A2-56E5-4985-B7AD-0785C93F27D4}" srcOrd="0" destOrd="0" presId="urn:microsoft.com/office/officeart/2005/8/layout/chevron2"/>
    <dgm:cxn modelId="{88FC5FCC-7E9E-4894-9721-7D3F50684DFA}" type="presParOf" srcId="{F18F2DE0-825F-415C-A88F-2B2B19BC8A9F}" destId="{80C308CD-E614-4B2A-8845-8B0BFE0D710F}" srcOrd="1" destOrd="0" presId="urn:microsoft.com/office/officeart/2005/8/layout/chevron2"/>
    <dgm:cxn modelId="{F751890D-1DF7-4552-AA29-EE1580338697}" type="presParOf" srcId="{80FB67A1-C746-46D8-8DCE-450BDEFA5A0F}" destId="{65B4ED8A-F6F2-4921-83D7-DFB1D7019DCB}" srcOrd="3" destOrd="0" presId="urn:microsoft.com/office/officeart/2005/8/layout/chevron2"/>
    <dgm:cxn modelId="{1D81C961-4F26-445A-B685-E34E4D912622}" type="presParOf" srcId="{80FB67A1-C746-46D8-8DCE-450BDEFA5A0F}" destId="{C93F58F8-B225-4B0A-B391-EC7DAC60BEAB}" srcOrd="4" destOrd="0" presId="urn:microsoft.com/office/officeart/2005/8/layout/chevron2"/>
    <dgm:cxn modelId="{966791DE-5EE7-4B81-A09E-0AA038EE7121}" type="presParOf" srcId="{C93F58F8-B225-4B0A-B391-EC7DAC60BEAB}" destId="{7ACC8E58-44B2-439B-B46D-33A69B1BE71F}" srcOrd="0" destOrd="0" presId="urn:microsoft.com/office/officeart/2005/8/layout/chevron2"/>
    <dgm:cxn modelId="{01CDB7EC-91ED-4FF6-A3FD-6CDA732668B2}" type="presParOf" srcId="{C93F58F8-B225-4B0A-B391-EC7DAC60BEAB}" destId="{3A6DC5D9-8E9A-4B04-9AC6-9A4F1CF085C1}" srcOrd="1" destOrd="0" presId="urn:microsoft.com/office/officeart/2005/8/layout/chevron2"/>
    <dgm:cxn modelId="{824FD134-B7EE-404B-93C3-7B65D9D857A9}" type="presParOf" srcId="{80FB67A1-C746-46D8-8DCE-450BDEFA5A0F}" destId="{857585BF-28C9-4DA1-8DEB-13C8EED052A5}" srcOrd="5" destOrd="0" presId="urn:microsoft.com/office/officeart/2005/8/layout/chevron2"/>
    <dgm:cxn modelId="{343AAA13-8D6B-420B-A2F7-5B726DE5D291}" type="presParOf" srcId="{80FB67A1-C746-46D8-8DCE-450BDEFA5A0F}" destId="{F0DB4E0F-F846-4926-A925-852F6C35BB16}" srcOrd="6" destOrd="0" presId="urn:microsoft.com/office/officeart/2005/8/layout/chevron2"/>
    <dgm:cxn modelId="{641994C1-0D65-44F6-828A-2986356686DA}" type="presParOf" srcId="{F0DB4E0F-F846-4926-A925-852F6C35BB16}" destId="{D1EDB8C1-67C8-4727-89FC-25F03B74EC87}" srcOrd="0" destOrd="0" presId="urn:microsoft.com/office/officeart/2005/8/layout/chevron2"/>
    <dgm:cxn modelId="{40FC4B18-EB55-4B23-8F5D-AFA8BA3CBA83}" type="presParOf" srcId="{F0DB4E0F-F846-4926-A925-852F6C35BB16}" destId="{08E108D1-0339-4BCC-A70B-884686A1238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1D38B75-C8DC-4344-9340-F0E9057DC19A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8F1AE97-1D62-4A04-8941-1F13E8CBA743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Ethereum Blockchain Solution</a:t>
          </a:r>
        </a:p>
      </dgm:t>
    </dgm:pt>
    <dgm:pt modelId="{FA15EF9E-7C0A-43AD-A1ED-97DF9EC01BBF}" type="parTrans" cxnId="{12D888DF-891D-413B-9BD8-32570D1C378F}">
      <dgm:prSet/>
      <dgm:spPr/>
      <dgm:t>
        <a:bodyPr/>
        <a:lstStyle/>
        <a:p>
          <a:endParaRPr lang="en-US"/>
        </a:p>
      </dgm:t>
    </dgm:pt>
    <dgm:pt modelId="{9B62143C-B52A-423D-93D1-3D0DE5FE8BD5}" type="sibTrans" cxnId="{12D888DF-891D-413B-9BD8-32570D1C378F}">
      <dgm:prSet/>
      <dgm:spPr/>
      <dgm:t>
        <a:bodyPr/>
        <a:lstStyle/>
        <a:p>
          <a:endParaRPr lang="en-US"/>
        </a:p>
      </dgm:t>
    </dgm:pt>
    <dgm:pt modelId="{4EBEB88B-658D-4544-AA28-F6D01A3F8CE0}">
      <dgm:prSet phldrT="[Text]"/>
      <dgm:spPr>
        <a:solidFill>
          <a:srgbClr val="92D050"/>
        </a:solidFill>
      </dgm:spPr>
      <dgm:t>
        <a:bodyPr/>
        <a:lstStyle/>
        <a:p>
          <a:r>
            <a:rPr lang="en-US" b="0" u="sng" dirty="0" err="1">
              <a:solidFill>
                <a:schemeClr val="tx1"/>
              </a:solidFill>
            </a:rPr>
            <a:t>Decentralised</a:t>
          </a:r>
          <a:r>
            <a:rPr lang="en-US" b="0" u="sng" dirty="0">
              <a:solidFill>
                <a:schemeClr val="tx1"/>
              </a:solidFill>
            </a:rPr>
            <a:t> Control</a:t>
          </a:r>
        </a:p>
        <a:p>
          <a:br>
            <a:rPr lang="en-US" dirty="0">
              <a:solidFill>
                <a:schemeClr val="tx1"/>
              </a:solidFill>
            </a:rPr>
          </a:br>
          <a:r>
            <a:rPr lang="en-US" dirty="0">
              <a:solidFill>
                <a:schemeClr val="tx1"/>
              </a:solidFill>
            </a:rPr>
            <a:t>Donors involved have more Control and Decision making power on their part. </a:t>
          </a:r>
        </a:p>
      </dgm:t>
    </dgm:pt>
    <dgm:pt modelId="{49ADB406-D3CA-4F00-813D-528BF698BDC2}" type="parTrans" cxnId="{7256FF9C-16AD-4E51-BC7D-CCFBF34A0DA8}">
      <dgm:prSet/>
      <dgm:spPr/>
      <dgm:t>
        <a:bodyPr/>
        <a:lstStyle/>
        <a:p>
          <a:endParaRPr lang="en-US"/>
        </a:p>
      </dgm:t>
    </dgm:pt>
    <dgm:pt modelId="{3ECE9748-1F5E-4513-9309-28079D185E71}" type="sibTrans" cxnId="{7256FF9C-16AD-4E51-BC7D-CCFBF34A0DA8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354164DD-A8E1-4E44-B0E9-359401DB2FFE}">
      <dgm:prSet phldrT="[Text]"/>
      <dgm:spPr>
        <a:solidFill>
          <a:srgbClr val="92D050"/>
        </a:solidFill>
      </dgm:spPr>
      <dgm:t>
        <a:bodyPr/>
        <a:lstStyle/>
        <a:p>
          <a:r>
            <a:rPr lang="en-US" u="sng" dirty="0">
              <a:solidFill>
                <a:schemeClr val="tx1"/>
              </a:solidFill>
            </a:rPr>
            <a:t>Transparency</a:t>
          </a:r>
        </a:p>
        <a:p>
          <a:r>
            <a:rPr lang="en-US" dirty="0">
              <a:solidFill>
                <a:schemeClr val="tx1"/>
              </a:solidFill>
            </a:rPr>
            <a:t> Showcasing history of transactions by Campaigns to Third party vendors</a:t>
          </a:r>
        </a:p>
      </dgm:t>
    </dgm:pt>
    <dgm:pt modelId="{194867B1-1C78-4B9F-B7D3-A96F742FFD19}" type="parTrans" cxnId="{880A9706-F1EA-47C7-8F80-2C347A8A488B}">
      <dgm:prSet/>
      <dgm:spPr/>
      <dgm:t>
        <a:bodyPr/>
        <a:lstStyle/>
        <a:p>
          <a:endParaRPr lang="en-US"/>
        </a:p>
      </dgm:t>
    </dgm:pt>
    <dgm:pt modelId="{43E61ABB-6D6A-48B0-B53E-F082390C2AEA}" type="sibTrans" cxnId="{880A9706-F1EA-47C7-8F80-2C347A8A488B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81BEBC96-42A4-436D-944D-F714F0851A6F}">
      <dgm:prSet phldrT="[Text]"/>
      <dgm:spPr>
        <a:solidFill>
          <a:srgbClr val="92D050"/>
        </a:solidFill>
      </dgm:spPr>
      <dgm:t>
        <a:bodyPr/>
        <a:lstStyle/>
        <a:p>
          <a:r>
            <a:rPr lang="en-US" u="sng" dirty="0">
              <a:solidFill>
                <a:schemeClr val="tx1"/>
              </a:solidFill>
            </a:rPr>
            <a:t>Security</a:t>
          </a:r>
        </a:p>
        <a:p>
          <a:r>
            <a:rPr lang="en-US" dirty="0">
              <a:solidFill>
                <a:schemeClr val="tx1"/>
              </a:solidFill>
            </a:rPr>
            <a:t> Ether transactions are cryptographically secured</a:t>
          </a:r>
        </a:p>
      </dgm:t>
    </dgm:pt>
    <dgm:pt modelId="{8A87237F-43CF-4D63-AAFB-88634AE132CA}" type="parTrans" cxnId="{CC6352B2-E61A-449C-9D55-3422C99847A7}">
      <dgm:prSet/>
      <dgm:spPr/>
      <dgm:t>
        <a:bodyPr/>
        <a:lstStyle/>
        <a:p>
          <a:endParaRPr lang="en-US"/>
        </a:p>
      </dgm:t>
    </dgm:pt>
    <dgm:pt modelId="{DDD9E83F-E3A1-4D95-971C-A991485E5A0E}" type="sibTrans" cxnId="{CC6352B2-E61A-449C-9D55-3422C99847A7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2A984149-4CE2-424B-8DD3-F02F55EECF64}">
      <dgm:prSet phldrT="[Text]"/>
      <dgm:spPr>
        <a:solidFill>
          <a:srgbClr val="92D050"/>
        </a:solidFill>
      </dgm:spPr>
      <dgm:t>
        <a:bodyPr/>
        <a:lstStyle/>
        <a:p>
          <a:r>
            <a:rPr lang="en-US" u="sng" dirty="0">
              <a:solidFill>
                <a:schemeClr val="tx1"/>
              </a:solidFill>
            </a:rPr>
            <a:t>Accountability</a:t>
          </a:r>
        </a:p>
        <a:p>
          <a:r>
            <a:rPr lang="en-US" dirty="0">
              <a:solidFill>
                <a:schemeClr val="tx1"/>
              </a:solidFill>
            </a:rPr>
            <a:t> Charities will have to justify their financial decisions to the donors by creating Spending Requests.</a:t>
          </a:r>
        </a:p>
      </dgm:t>
    </dgm:pt>
    <dgm:pt modelId="{B0190ADA-F64C-4339-B748-FF78F56F1750}" type="parTrans" cxnId="{8F8F11F1-60F8-4515-9884-9ECF068A6489}">
      <dgm:prSet/>
      <dgm:spPr/>
      <dgm:t>
        <a:bodyPr/>
        <a:lstStyle/>
        <a:p>
          <a:endParaRPr lang="en-US"/>
        </a:p>
      </dgm:t>
    </dgm:pt>
    <dgm:pt modelId="{DB8EE88C-1012-4365-A3CA-36CB86C96FC5}" type="sibTrans" cxnId="{8F8F11F1-60F8-4515-9884-9ECF068A6489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B7A8F1A1-3B38-4E18-9114-F262F65A1612}" type="pres">
      <dgm:prSet presAssocID="{B1D38B75-C8DC-4344-9340-F0E9057DC19A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4DEEC004-B19A-44E6-9670-630E1EAC2195}" type="pres">
      <dgm:prSet presAssocID="{18F1AE97-1D62-4A04-8941-1F13E8CBA743}" presName="centerShape" presStyleLbl="node0" presStyleIdx="0" presStyleCnt="1" custScaleX="95146" custScaleY="87198"/>
      <dgm:spPr/>
    </dgm:pt>
    <dgm:pt modelId="{3959ECD8-AB67-416C-BE11-BAF07EC7A7C2}" type="pres">
      <dgm:prSet presAssocID="{4EBEB88B-658D-4544-AA28-F6D01A3F8CE0}" presName="node" presStyleLbl="node1" presStyleIdx="0" presStyleCnt="4" custScaleX="146232" custScaleY="132884" custRadScaleRad="90225">
        <dgm:presLayoutVars>
          <dgm:bulletEnabled val="1"/>
        </dgm:presLayoutVars>
      </dgm:prSet>
      <dgm:spPr/>
    </dgm:pt>
    <dgm:pt modelId="{47AB65B5-85A9-4991-8AF9-8A53FAE9D853}" type="pres">
      <dgm:prSet presAssocID="{4EBEB88B-658D-4544-AA28-F6D01A3F8CE0}" presName="dummy" presStyleCnt="0"/>
      <dgm:spPr/>
    </dgm:pt>
    <dgm:pt modelId="{61C12617-4293-4B06-B74E-D22C2B786CB0}" type="pres">
      <dgm:prSet presAssocID="{3ECE9748-1F5E-4513-9309-28079D185E71}" presName="sibTrans" presStyleLbl="sibTrans2D1" presStyleIdx="0" presStyleCnt="4"/>
      <dgm:spPr/>
    </dgm:pt>
    <dgm:pt modelId="{B9FB1FA6-2931-467C-8929-2C9F12818C63}" type="pres">
      <dgm:prSet presAssocID="{354164DD-A8E1-4E44-B0E9-359401DB2FFE}" presName="node" presStyleLbl="node1" presStyleIdx="1" presStyleCnt="4" custScaleX="141154" custScaleY="135136">
        <dgm:presLayoutVars>
          <dgm:bulletEnabled val="1"/>
        </dgm:presLayoutVars>
      </dgm:prSet>
      <dgm:spPr/>
    </dgm:pt>
    <dgm:pt modelId="{9AD0B9D0-854B-4DBA-98FE-641521237B01}" type="pres">
      <dgm:prSet presAssocID="{354164DD-A8E1-4E44-B0E9-359401DB2FFE}" presName="dummy" presStyleCnt="0"/>
      <dgm:spPr/>
    </dgm:pt>
    <dgm:pt modelId="{589D1167-1CE9-4D8C-A74A-03E600F31E0D}" type="pres">
      <dgm:prSet presAssocID="{43E61ABB-6D6A-48B0-B53E-F082390C2AEA}" presName="sibTrans" presStyleLbl="sibTrans2D1" presStyleIdx="1" presStyleCnt="4"/>
      <dgm:spPr/>
    </dgm:pt>
    <dgm:pt modelId="{DF5CB101-B85E-49A9-9419-745746E08CD6}" type="pres">
      <dgm:prSet presAssocID="{81BEBC96-42A4-436D-944D-F714F0851A6F}" presName="node" presStyleLbl="node1" presStyleIdx="2" presStyleCnt="4" custScaleX="137582" custScaleY="123568" custRadScaleRad="91076">
        <dgm:presLayoutVars>
          <dgm:bulletEnabled val="1"/>
        </dgm:presLayoutVars>
      </dgm:prSet>
      <dgm:spPr/>
    </dgm:pt>
    <dgm:pt modelId="{839AD83C-9E83-4E7F-88EF-EC3D1E8413BF}" type="pres">
      <dgm:prSet presAssocID="{81BEBC96-42A4-436D-944D-F714F0851A6F}" presName="dummy" presStyleCnt="0"/>
      <dgm:spPr/>
    </dgm:pt>
    <dgm:pt modelId="{B1A1C22C-F753-429C-BF2D-6472F07FA6CF}" type="pres">
      <dgm:prSet presAssocID="{DDD9E83F-E3A1-4D95-971C-A991485E5A0E}" presName="sibTrans" presStyleLbl="sibTrans2D1" presStyleIdx="2" presStyleCnt="4"/>
      <dgm:spPr/>
    </dgm:pt>
    <dgm:pt modelId="{E80F6D6F-EE7C-499F-89ED-E037BF89AC63}" type="pres">
      <dgm:prSet presAssocID="{2A984149-4CE2-424B-8DD3-F02F55EECF64}" presName="node" presStyleLbl="node1" presStyleIdx="3" presStyleCnt="4" custScaleX="137337" custScaleY="132158">
        <dgm:presLayoutVars>
          <dgm:bulletEnabled val="1"/>
        </dgm:presLayoutVars>
      </dgm:prSet>
      <dgm:spPr/>
    </dgm:pt>
    <dgm:pt modelId="{FD8E7DBA-7D08-4925-A08F-F7C90F8F51F2}" type="pres">
      <dgm:prSet presAssocID="{2A984149-4CE2-424B-8DD3-F02F55EECF64}" presName="dummy" presStyleCnt="0"/>
      <dgm:spPr/>
    </dgm:pt>
    <dgm:pt modelId="{5DC9148D-4103-41AF-8B0E-125B6AAEA475}" type="pres">
      <dgm:prSet presAssocID="{DB8EE88C-1012-4365-A3CA-36CB86C96FC5}" presName="sibTrans" presStyleLbl="sibTrans2D1" presStyleIdx="3" presStyleCnt="4"/>
      <dgm:spPr/>
    </dgm:pt>
  </dgm:ptLst>
  <dgm:cxnLst>
    <dgm:cxn modelId="{880A9706-F1EA-47C7-8F80-2C347A8A488B}" srcId="{18F1AE97-1D62-4A04-8941-1F13E8CBA743}" destId="{354164DD-A8E1-4E44-B0E9-359401DB2FFE}" srcOrd="1" destOrd="0" parTransId="{194867B1-1C78-4B9F-B7D3-A96F742FFD19}" sibTransId="{43E61ABB-6D6A-48B0-B53E-F082390C2AEA}"/>
    <dgm:cxn modelId="{24714933-8A6D-4D5E-95DD-97A1BDA02FC3}" type="presOf" srcId="{3ECE9748-1F5E-4513-9309-28079D185E71}" destId="{61C12617-4293-4B06-B74E-D22C2B786CB0}" srcOrd="0" destOrd="0" presId="urn:microsoft.com/office/officeart/2005/8/layout/radial6"/>
    <dgm:cxn modelId="{D21A465E-4568-405C-B8F2-33B82A21D3BD}" type="presOf" srcId="{354164DD-A8E1-4E44-B0E9-359401DB2FFE}" destId="{B9FB1FA6-2931-467C-8929-2C9F12818C63}" srcOrd="0" destOrd="0" presId="urn:microsoft.com/office/officeart/2005/8/layout/radial6"/>
    <dgm:cxn modelId="{3DA3C36F-904A-4E87-877E-3517119CB168}" type="presOf" srcId="{4EBEB88B-658D-4544-AA28-F6D01A3F8CE0}" destId="{3959ECD8-AB67-416C-BE11-BAF07EC7A7C2}" srcOrd="0" destOrd="0" presId="urn:microsoft.com/office/officeart/2005/8/layout/radial6"/>
    <dgm:cxn modelId="{5CB77F53-A028-45E1-8F57-B94A4A2F056D}" type="presOf" srcId="{2A984149-4CE2-424B-8DD3-F02F55EECF64}" destId="{E80F6D6F-EE7C-499F-89ED-E037BF89AC63}" srcOrd="0" destOrd="0" presId="urn:microsoft.com/office/officeart/2005/8/layout/radial6"/>
    <dgm:cxn modelId="{66646579-E175-40D8-8501-283686C7651D}" type="presOf" srcId="{18F1AE97-1D62-4A04-8941-1F13E8CBA743}" destId="{4DEEC004-B19A-44E6-9670-630E1EAC2195}" srcOrd="0" destOrd="0" presId="urn:microsoft.com/office/officeart/2005/8/layout/radial6"/>
    <dgm:cxn modelId="{7256FF9C-16AD-4E51-BC7D-CCFBF34A0DA8}" srcId="{18F1AE97-1D62-4A04-8941-1F13E8CBA743}" destId="{4EBEB88B-658D-4544-AA28-F6D01A3F8CE0}" srcOrd="0" destOrd="0" parTransId="{49ADB406-D3CA-4F00-813D-528BF698BDC2}" sibTransId="{3ECE9748-1F5E-4513-9309-28079D185E71}"/>
    <dgm:cxn modelId="{CC6352B2-E61A-449C-9D55-3422C99847A7}" srcId="{18F1AE97-1D62-4A04-8941-1F13E8CBA743}" destId="{81BEBC96-42A4-436D-944D-F714F0851A6F}" srcOrd="2" destOrd="0" parTransId="{8A87237F-43CF-4D63-AAFB-88634AE132CA}" sibTransId="{DDD9E83F-E3A1-4D95-971C-A991485E5A0E}"/>
    <dgm:cxn modelId="{E593F2C1-670E-410F-8FFB-9D57DFA15C6A}" type="presOf" srcId="{81BEBC96-42A4-436D-944D-F714F0851A6F}" destId="{DF5CB101-B85E-49A9-9419-745746E08CD6}" srcOrd="0" destOrd="0" presId="urn:microsoft.com/office/officeart/2005/8/layout/radial6"/>
    <dgm:cxn modelId="{C0DF16DC-E8F6-4203-8EF8-C2919CC81B43}" type="presOf" srcId="{B1D38B75-C8DC-4344-9340-F0E9057DC19A}" destId="{B7A8F1A1-3B38-4E18-9114-F262F65A1612}" srcOrd="0" destOrd="0" presId="urn:microsoft.com/office/officeart/2005/8/layout/radial6"/>
    <dgm:cxn modelId="{12D888DF-891D-413B-9BD8-32570D1C378F}" srcId="{B1D38B75-C8DC-4344-9340-F0E9057DC19A}" destId="{18F1AE97-1D62-4A04-8941-1F13E8CBA743}" srcOrd="0" destOrd="0" parTransId="{FA15EF9E-7C0A-43AD-A1ED-97DF9EC01BBF}" sibTransId="{9B62143C-B52A-423D-93D1-3D0DE5FE8BD5}"/>
    <dgm:cxn modelId="{574DA3E0-616C-4CD4-9086-885B084DAAC0}" type="presOf" srcId="{43E61ABB-6D6A-48B0-B53E-F082390C2AEA}" destId="{589D1167-1CE9-4D8C-A74A-03E600F31E0D}" srcOrd="0" destOrd="0" presId="urn:microsoft.com/office/officeart/2005/8/layout/radial6"/>
    <dgm:cxn modelId="{910AD2F0-127B-4168-B512-CA9649D931E5}" type="presOf" srcId="{DDD9E83F-E3A1-4D95-971C-A991485E5A0E}" destId="{B1A1C22C-F753-429C-BF2D-6472F07FA6CF}" srcOrd="0" destOrd="0" presId="urn:microsoft.com/office/officeart/2005/8/layout/radial6"/>
    <dgm:cxn modelId="{8F8F11F1-60F8-4515-9884-9ECF068A6489}" srcId="{18F1AE97-1D62-4A04-8941-1F13E8CBA743}" destId="{2A984149-4CE2-424B-8DD3-F02F55EECF64}" srcOrd="3" destOrd="0" parTransId="{B0190ADA-F64C-4339-B748-FF78F56F1750}" sibTransId="{DB8EE88C-1012-4365-A3CA-36CB86C96FC5}"/>
    <dgm:cxn modelId="{345095F8-A3E7-4FBA-9ACD-4307B9634AC2}" type="presOf" srcId="{DB8EE88C-1012-4365-A3CA-36CB86C96FC5}" destId="{5DC9148D-4103-41AF-8B0E-125B6AAEA475}" srcOrd="0" destOrd="0" presId="urn:microsoft.com/office/officeart/2005/8/layout/radial6"/>
    <dgm:cxn modelId="{C18FFB62-9A4C-41A8-8230-511256F832AD}" type="presParOf" srcId="{B7A8F1A1-3B38-4E18-9114-F262F65A1612}" destId="{4DEEC004-B19A-44E6-9670-630E1EAC2195}" srcOrd="0" destOrd="0" presId="urn:microsoft.com/office/officeart/2005/8/layout/radial6"/>
    <dgm:cxn modelId="{20A63537-99FF-4CC4-B595-7D015ACD856E}" type="presParOf" srcId="{B7A8F1A1-3B38-4E18-9114-F262F65A1612}" destId="{3959ECD8-AB67-416C-BE11-BAF07EC7A7C2}" srcOrd="1" destOrd="0" presId="urn:microsoft.com/office/officeart/2005/8/layout/radial6"/>
    <dgm:cxn modelId="{04CBF638-A2A8-48D0-8F7C-7CC60DD6C4BB}" type="presParOf" srcId="{B7A8F1A1-3B38-4E18-9114-F262F65A1612}" destId="{47AB65B5-85A9-4991-8AF9-8A53FAE9D853}" srcOrd="2" destOrd="0" presId="urn:microsoft.com/office/officeart/2005/8/layout/radial6"/>
    <dgm:cxn modelId="{72E94852-8F38-4E99-B276-A05969BA7249}" type="presParOf" srcId="{B7A8F1A1-3B38-4E18-9114-F262F65A1612}" destId="{61C12617-4293-4B06-B74E-D22C2B786CB0}" srcOrd="3" destOrd="0" presId="urn:microsoft.com/office/officeart/2005/8/layout/radial6"/>
    <dgm:cxn modelId="{C71B85BA-9E49-41DC-872E-9EE7FAB54BE1}" type="presParOf" srcId="{B7A8F1A1-3B38-4E18-9114-F262F65A1612}" destId="{B9FB1FA6-2931-467C-8929-2C9F12818C63}" srcOrd="4" destOrd="0" presId="urn:microsoft.com/office/officeart/2005/8/layout/radial6"/>
    <dgm:cxn modelId="{84AAA9A9-1494-4FFE-B505-B744B0A37655}" type="presParOf" srcId="{B7A8F1A1-3B38-4E18-9114-F262F65A1612}" destId="{9AD0B9D0-854B-4DBA-98FE-641521237B01}" srcOrd="5" destOrd="0" presId="urn:microsoft.com/office/officeart/2005/8/layout/radial6"/>
    <dgm:cxn modelId="{BDF1A073-FAEC-436F-8E29-A1DA6587F1E6}" type="presParOf" srcId="{B7A8F1A1-3B38-4E18-9114-F262F65A1612}" destId="{589D1167-1CE9-4D8C-A74A-03E600F31E0D}" srcOrd="6" destOrd="0" presId="urn:microsoft.com/office/officeart/2005/8/layout/radial6"/>
    <dgm:cxn modelId="{9BE400DE-A168-4D33-99E5-0D635302D96F}" type="presParOf" srcId="{B7A8F1A1-3B38-4E18-9114-F262F65A1612}" destId="{DF5CB101-B85E-49A9-9419-745746E08CD6}" srcOrd="7" destOrd="0" presId="urn:microsoft.com/office/officeart/2005/8/layout/radial6"/>
    <dgm:cxn modelId="{E6336116-DECF-43FB-9967-154535EBBEC9}" type="presParOf" srcId="{B7A8F1A1-3B38-4E18-9114-F262F65A1612}" destId="{839AD83C-9E83-4E7F-88EF-EC3D1E8413BF}" srcOrd="8" destOrd="0" presId="urn:microsoft.com/office/officeart/2005/8/layout/radial6"/>
    <dgm:cxn modelId="{9544340E-7753-4187-8AD0-0DB332A7F420}" type="presParOf" srcId="{B7A8F1A1-3B38-4E18-9114-F262F65A1612}" destId="{B1A1C22C-F753-429C-BF2D-6472F07FA6CF}" srcOrd="9" destOrd="0" presId="urn:microsoft.com/office/officeart/2005/8/layout/radial6"/>
    <dgm:cxn modelId="{9E59D7D3-88D9-46CA-94C6-3B56C7D5D588}" type="presParOf" srcId="{B7A8F1A1-3B38-4E18-9114-F262F65A1612}" destId="{E80F6D6F-EE7C-499F-89ED-E037BF89AC63}" srcOrd="10" destOrd="0" presId="urn:microsoft.com/office/officeart/2005/8/layout/radial6"/>
    <dgm:cxn modelId="{8A15DF96-2861-4D79-ABCA-0F2A3480B13B}" type="presParOf" srcId="{B7A8F1A1-3B38-4E18-9114-F262F65A1612}" destId="{FD8E7DBA-7D08-4925-A08F-F7C90F8F51F2}" srcOrd="11" destOrd="0" presId="urn:microsoft.com/office/officeart/2005/8/layout/radial6"/>
    <dgm:cxn modelId="{55226FB0-D791-4BD7-BF3C-C775E1DBF11D}" type="presParOf" srcId="{B7A8F1A1-3B38-4E18-9114-F262F65A1612}" destId="{5DC9148D-4103-41AF-8B0E-125B6AAEA47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38DA67-F9CA-42FD-B005-3994DCD2C71E}">
      <dsp:nvSpPr>
        <dsp:cNvPr id="0" name=""/>
        <dsp:cNvSpPr/>
      </dsp:nvSpPr>
      <dsp:spPr>
        <a:xfrm rot="5400000">
          <a:off x="-214926" y="215030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Donation</a:t>
          </a:r>
        </a:p>
      </dsp:txBody>
      <dsp:txXfrm rot="-5400000">
        <a:off x="1" y="501599"/>
        <a:ext cx="1002992" cy="429854"/>
      </dsp:txXfrm>
    </dsp:sp>
    <dsp:sp modelId="{59C0040B-1391-46A7-A753-08BC63279767}">
      <dsp:nvSpPr>
        <dsp:cNvPr id="0" name=""/>
        <dsp:cNvSpPr/>
      </dsp:nvSpPr>
      <dsp:spPr>
        <a:xfrm rot="5400000">
          <a:off x="3854751" y="-2851655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900" kern="1200" dirty="0"/>
            <a:t>Members of the general public contributing to a Campaign fund in the form of Ether</a:t>
          </a:r>
        </a:p>
      </dsp:txBody>
      <dsp:txXfrm rot="-5400000">
        <a:off x="1002993" y="45568"/>
        <a:ext cx="6589403" cy="840420"/>
      </dsp:txXfrm>
    </dsp:sp>
    <dsp:sp modelId="{AF7A17A2-56E5-4985-B7AD-0785C93F27D4}">
      <dsp:nvSpPr>
        <dsp:cNvPr id="0" name=""/>
        <dsp:cNvSpPr/>
      </dsp:nvSpPr>
      <dsp:spPr>
        <a:xfrm rot="5400000">
          <a:off x="-214926" y="1502971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tx1"/>
              </a:solidFill>
            </a:rPr>
            <a:t>Spending Request </a:t>
          </a:r>
          <a:endParaRPr lang="en-US" sz="1400" kern="1200" dirty="0">
            <a:solidFill>
              <a:schemeClr val="tx1"/>
            </a:solidFill>
          </a:endParaRPr>
        </a:p>
      </dsp:txBody>
      <dsp:txXfrm rot="-5400000">
        <a:off x="1" y="1789540"/>
        <a:ext cx="1002992" cy="429854"/>
      </dsp:txXfrm>
    </dsp:sp>
    <dsp:sp modelId="{80C308CD-E614-4B2A-8845-8B0BFE0D710F}">
      <dsp:nvSpPr>
        <dsp:cNvPr id="0" name=""/>
        <dsp:cNvSpPr/>
      </dsp:nvSpPr>
      <dsp:spPr>
        <a:xfrm rot="5400000">
          <a:off x="3854751" y="-1563714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Manager creating a Request to disburse certain amount of that Campaign fund to a vendor by specifying the Vendor Ether wallet address, Ether Amount, and purpose of that Expenditure</a:t>
          </a:r>
        </a:p>
      </dsp:txBody>
      <dsp:txXfrm rot="-5400000">
        <a:off x="1002993" y="1333509"/>
        <a:ext cx="6589403" cy="840420"/>
      </dsp:txXfrm>
    </dsp:sp>
    <dsp:sp modelId="{7ACC8E58-44B2-439B-B46D-33A69B1BE71F}">
      <dsp:nvSpPr>
        <dsp:cNvPr id="0" name=""/>
        <dsp:cNvSpPr/>
      </dsp:nvSpPr>
      <dsp:spPr>
        <a:xfrm rot="5400000">
          <a:off x="-214926" y="2801386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/>
              </a:solidFill>
            </a:rPr>
            <a:t>Approval</a:t>
          </a:r>
          <a:endParaRPr lang="en-US" sz="1600" kern="1200" dirty="0">
            <a:solidFill>
              <a:schemeClr val="tx1"/>
            </a:solidFill>
          </a:endParaRPr>
        </a:p>
      </dsp:txBody>
      <dsp:txXfrm rot="-5400000">
        <a:off x="1" y="3087955"/>
        <a:ext cx="1002992" cy="429854"/>
      </dsp:txXfrm>
    </dsp:sp>
    <dsp:sp modelId="{3A6DC5D9-8E9A-4B04-9AC6-9A4F1CF085C1}">
      <dsp:nvSpPr>
        <dsp:cNvPr id="0" name=""/>
        <dsp:cNvSpPr/>
      </dsp:nvSpPr>
      <dsp:spPr>
        <a:xfrm rot="5400000">
          <a:off x="3854751" y="-275774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Approval from more than 50% of the Donors on a particular Spending Request</a:t>
          </a:r>
        </a:p>
      </dsp:txBody>
      <dsp:txXfrm rot="-5400000">
        <a:off x="1002993" y="2621449"/>
        <a:ext cx="6589403" cy="840420"/>
      </dsp:txXfrm>
    </dsp:sp>
    <dsp:sp modelId="{D1EDB8C1-67C8-4727-89FC-25F03B74EC87}">
      <dsp:nvSpPr>
        <dsp:cNvPr id="0" name=""/>
        <dsp:cNvSpPr/>
      </dsp:nvSpPr>
      <dsp:spPr>
        <a:xfrm rot="5400000">
          <a:off x="-214926" y="4078852"/>
          <a:ext cx="1432846" cy="1002992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 err="1">
              <a:solidFill>
                <a:schemeClr val="tx1"/>
              </a:solidFill>
            </a:rPr>
            <a:t>Finalisation</a:t>
          </a:r>
          <a:endParaRPr lang="en-US" sz="1600" kern="1200" dirty="0">
            <a:solidFill>
              <a:schemeClr val="tx1"/>
            </a:solidFill>
          </a:endParaRPr>
        </a:p>
      </dsp:txBody>
      <dsp:txXfrm rot="-5400000">
        <a:off x="1" y="4365421"/>
        <a:ext cx="1002992" cy="429854"/>
      </dsp:txXfrm>
    </dsp:sp>
    <dsp:sp modelId="{08E108D1-0339-4BCC-A70B-884686A12382}">
      <dsp:nvSpPr>
        <dsp:cNvPr id="0" name=""/>
        <dsp:cNvSpPr/>
      </dsp:nvSpPr>
      <dsp:spPr>
        <a:xfrm rot="5400000">
          <a:off x="3854751" y="1012166"/>
          <a:ext cx="931350" cy="66348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900" kern="1200" dirty="0"/>
            <a:t>Manager sending over the payment to the vendor after getting approval</a:t>
          </a:r>
        </a:p>
      </dsp:txBody>
      <dsp:txXfrm rot="-5400000">
        <a:off x="1002993" y="3909390"/>
        <a:ext cx="6589403" cy="8404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C9148D-4103-41AF-8B0E-125B6AAEA475}">
      <dsp:nvSpPr>
        <dsp:cNvPr id="0" name=""/>
        <dsp:cNvSpPr/>
      </dsp:nvSpPr>
      <dsp:spPr>
        <a:xfrm>
          <a:off x="2284633" y="981407"/>
          <a:ext cx="4789567" cy="4789567"/>
        </a:xfrm>
        <a:prstGeom prst="blockArc">
          <a:avLst>
            <a:gd name="adj1" fmla="val 11136538"/>
            <a:gd name="adj2" fmla="val 16216460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A1C22C-F753-429C-BF2D-6472F07FA6CF}">
      <dsp:nvSpPr>
        <dsp:cNvPr id="0" name=""/>
        <dsp:cNvSpPr/>
      </dsp:nvSpPr>
      <dsp:spPr>
        <a:xfrm>
          <a:off x="2286502" y="544046"/>
          <a:ext cx="4789567" cy="4789567"/>
        </a:xfrm>
        <a:prstGeom prst="blockArc">
          <a:avLst>
            <a:gd name="adj1" fmla="val 5386286"/>
            <a:gd name="adj2" fmla="val 10492834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9D1167-1CE9-4D8C-A74A-03E600F31E0D}">
      <dsp:nvSpPr>
        <dsp:cNvPr id="0" name=""/>
        <dsp:cNvSpPr/>
      </dsp:nvSpPr>
      <dsp:spPr>
        <a:xfrm>
          <a:off x="2305165" y="544046"/>
          <a:ext cx="4789567" cy="4789567"/>
        </a:xfrm>
        <a:prstGeom prst="blockArc">
          <a:avLst>
            <a:gd name="adj1" fmla="val 307166"/>
            <a:gd name="adj2" fmla="val 5413714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C12617-4293-4B06-B74E-D22C2B786CB0}">
      <dsp:nvSpPr>
        <dsp:cNvPr id="0" name=""/>
        <dsp:cNvSpPr/>
      </dsp:nvSpPr>
      <dsp:spPr>
        <a:xfrm>
          <a:off x="2307033" y="981407"/>
          <a:ext cx="4789567" cy="4789567"/>
        </a:xfrm>
        <a:prstGeom prst="blockArc">
          <a:avLst>
            <a:gd name="adj1" fmla="val 16183540"/>
            <a:gd name="adj2" fmla="val 21263462"/>
            <a:gd name="adj3" fmla="val 464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EEC004-B19A-44E6-9670-630E1EAC2195}">
      <dsp:nvSpPr>
        <dsp:cNvPr id="0" name=""/>
        <dsp:cNvSpPr/>
      </dsp:nvSpPr>
      <dsp:spPr>
        <a:xfrm>
          <a:off x="3641331" y="2185927"/>
          <a:ext cx="2098571" cy="1923267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solidFill>
                <a:schemeClr val="tx1"/>
              </a:solidFill>
            </a:rPr>
            <a:t>Ethereum Blockchain Solution</a:t>
          </a:r>
        </a:p>
      </dsp:txBody>
      <dsp:txXfrm>
        <a:off x="3948660" y="2467583"/>
        <a:ext cx="1483913" cy="1359955"/>
      </dsp:txXfrm>
    </dsp:sp>
    <dsp:sp modelId="{3959ECD8-AB67-416C-BE11-BAF07EC7A7C2}">
      <dsp:nvSpPr>
        <dsp:cNvPr id="0" name=""/>
        <dsp:cNvSpPr/>
      </dsp:nvSpPr>
      <dsp:spPr>
        <a:xfrm>
          <a:off x="3561747" y="11190"/>
          <a:ext cx="2257738" cy="2051653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u="sng" kern="1200" dirty="0" err="1">
              <a:solidFill>
                <a:schemeClr val="tx1"/>
              </a:solidFill>
            </a:rPr>
            <a:t>Decentralised</a:t>
          </a:r>
          <a:r>
            <a:rPr lang="en-US" sz="1300" b="0" u="sng" kern="1200" dirty="0">
              <a:solidFill>
                <a:schemeClr val="tx1"/>
              </a:solidFill>
            </a:rPr>
            <a:t> Control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300" kern="1200" dirty="0">
              <a:solidFill>
                <a:schemeClr val="tx1"/>
              </a:solidFill>
            </a:rPr>
          </a:br>
          <a:r>
            <a:rPr lang="en-US" sz="1300" kern="1200" dirty="0">
              <a:solidFill>
                <a:schemeClr val="tx1"/>
              </a:solidFill>
            </a:rPr>
            <a:t>Donors involved have more Control and Decision making power on their part. </a:t>
          </a:r>
        </a:p>
      </dsp:txBody>
      <dsp:txXfrm>
        <a:off x="3892385" y="311648"/>
        <a:ext cx="1596462" cy="1450737"/>
      </dsp:txXfrm>
    </dsp:sp>
    <dsp:sp modelId="{B9FB1FA6-2931-467C-8929-2C9F12818C63}">
      <dsp:nvSpPr>
        <dsp:cNvPr id="0" name=""/>
        <dsp:cNvSpPr/>
      </dsp:nvSpPr>
      <dsp:spPr>
        <a:xfrm>
          <a:off x="5940150" y="2104349"/>
          <a:ext cx="2179337" cy="2086422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u="sng" kern="1200" dirty="0">
              <a:solidFill>
                <a:schemeClr val="tx1"/>
              </a:solidFill>
            </a:rPr>
            <a:t>Transparenc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tx1"/>
              </a:solidFill>
            </a:rPr>
            <a:t> Showcasing history of transactions by Campaigns to Third party vendors</a:t>
          </a:r>
        </a:p>
      </dsp:txBody>
      <dsp:txXfrm>
        <a:off x="6259307" y="2409898"/>
        <a:ext cx="1541023" cy="1475324"/>
      </dsp:txXfrm>
    </dsp:sp>
    <dsp:sp modelId="{DF5CB101-B85E-49A9-9419-745746E08CD6}">
      <dsp:nvSpPr>
        <dsp:cNvPr id="0" name=""/>
        <dsp:cNvSpPr/>
      </dsp:nvSpPr>
      <dsp:spPr>
        <a:xfrm>
          <a:off x="3628523" y="4324102"/>
          <a:ext cx="2124187" cy="1907819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u="sng" kern="1200" dirty="0">
              <a:solidFill>
                <a:schemeClr val="tx1"/>
              </a:solidFill>
            </a:rPr>
            <a:t>Securit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tx1"/>
              </a:solidFill>
            </a:rPr>
            <a:t> Ether transactions are cryptographically secured</a:t>
          </a:r>
        </a:p>
      </dsp:txBody>
      <dsp:txXfrm>
        <a:off x="3939603" y="4603496"/>
        <a:ext cx="1502027" cy="1349031"/>
      </dsp:txXfrm>
    </dsp:sp>
    <dsp:sp modelId="{E80F6D6F-EE7C-499F-89ED-E037BF89AC63}">
      <dsp:nvSpPr>
        <dsp:cNvPr id="0" name=""/>
        <dsp:cNvSpPr/>
      </dsp:nvSpPr>
      <dsp:spPr>
        <a:xfrm>
          <a:off x="1291213" y="2127339"/>
          <a:ext cx="2120405" cy="2040444"/>
        </a:xfrm>
        <a:prstGeom prst="ellipse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u="sng" kern="1200" dirty="0">
              <a:solidFill>
                <a:schemeClr val="tx1"/>
              </a:solidFill>
            </a:rPr>
            <a:t>Accountabilit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tx1"/>
              </a:solidFill>
            </a:rPr>
            <a:t> Charities will have to justify their financial decisions to the donors by creating Spending Requests.</a:t>
          </a:r>
        </a:p>
      </dsp:txBody>
      <dsp:txXfrm>
        <a:off x="1601739" y="2426155"/>
        <a:ext cx="1499353" cy="14428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329C4C-3327-4218-A516-8EF5C3113294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E0D4B6-14DC-4C09-B127-09FC5221C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02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8111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913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915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194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33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6204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7199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272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6176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0677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0573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29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31876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060743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105346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2255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9016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98557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2794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032247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0753948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4178140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7755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6389651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091652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8930328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3157522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1968001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690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0986178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89400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23629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6184735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8595569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853653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0783136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3637011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3197116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69664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993811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174504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66732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351368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175979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725825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8281797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962087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6713562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132164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3460500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31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987554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366846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0267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9433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67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412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4739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2357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1810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8138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731364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4960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477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84073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748553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2907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0168770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9774912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8139575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37313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4088458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44948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5137294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2335410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524290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10927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084902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3917439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8894230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5600281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3396359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7236790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3201399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276480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4877088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10835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00018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0605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99716943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9952514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9870739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2959307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625324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8865642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1041109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2532126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7248838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68898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7319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185199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04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21916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261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4690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9393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436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300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26075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78609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0025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785569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696529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07321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5932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805167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584152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434284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92629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0197184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36278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8216598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950863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9658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4199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7501295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6971747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0766470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7536357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264742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321228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762895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279537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555022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8660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2677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26362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8194922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0300336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26324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266456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1803267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3698847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560162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5158935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437938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467393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4368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958023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190946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7721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65113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9440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702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555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7024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1159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04583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940546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979999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300067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709669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845050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8640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9391116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548255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0385415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43135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9542651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9983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04959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260883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11243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7814716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4042821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7881171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8416428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0486841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356537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8887531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133044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774733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75731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284885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50759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35009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7688735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9141312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3005243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6071836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0819725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3692013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2243186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426315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99965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5107488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69651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10393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9352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0399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576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3293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3453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641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4225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7372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092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527660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729281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080441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486315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5063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7410498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7279624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6427563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21951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546530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208412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09546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9743818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7807554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2076042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0719832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8192829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4442034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670519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1604553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349061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67124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958719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1744016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1879025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483621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4154607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98570069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9770246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7790844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234892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8474553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600413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398634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5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70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6843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5757817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5093620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923665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602431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649093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19934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653592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13784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53613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067229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368593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33066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90772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826798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6058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392808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33259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98827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870732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546071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803087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1148777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906044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64094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813474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14088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5592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10370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09619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67450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830927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42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2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62203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42646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06705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9228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53000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44458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0214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3545"/>
            <a:ext cx="781367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267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3715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2726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4785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4837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4962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80877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26091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01175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26167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3543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619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7953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411644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278367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352858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9790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003985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33409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 b="1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4244213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0101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7572545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25970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394251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475136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7056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706819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606296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5076625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700213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700212"/>
            <a:ext cx="1998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3076573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3079742"/>
            <a:ext cx="198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429262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70386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4065173"/>
            <a:ext cx="41526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880213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880212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4256211"/>
            <a:ext cx="15876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880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880213"/>
            <a:ext cx="2378268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4256213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4256212"/>
            <a:ext cx="23796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91392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957" y="1700213"/>
            <a:ext cx="2729484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8957" y="3832225"/>
            <a:ext cx="2729484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887452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14788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477310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0597097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857893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705379"/>
            <a:ext cx="4158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857893"/>
            <a:ext cx="93312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4249682"/>
            <a:ext cx="4158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4103519"/>
            <a:ext cx="4158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4249684"/>
            <a:ext cx="95618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4248210"/>
            <a:ext cx="93312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863918"/>
            <a:ext cx="93368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3155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2626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496660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32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9036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4201689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2556000"/>
            <a:ext cx="1944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Blockchain Guild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52426" y="647700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Copyright © 2021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6477002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72375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9018795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428455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2623466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36" y="140324"/>
            <a:ext cx="6343650" cy="519000"/>
          </a:xfrm>
          <a:prstGeom prst="rect">
            <a:avLst/>
          </a:prstGeom>
        </p:spPr>
        <p:txBody>
          <a:bodyPr anchor="ctr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5A54A40-03D9-4AD9-8869-0F36C0109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135" y="957717"/>
            <a:ext cx="8809265" cy="114685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7689142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84CEC11-627B-024F-8027-972217259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2426" y="1020132"/>
            <a:ext cx="843915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/>
            </a:lvl1pPr>
          </a:lstStyle>
          <a:p>
            <a:pPr marL="171398" lvl="0" indent="-171398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F5BB4F-DCCF-5642-9CBE-D2DEAF3D69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2426" y="565723"/>
            <a:ext cx="843915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49394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0048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5845181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6362700"/>
            <a:ext cx="4195762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457200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727595"/>
            <a:ext cx="405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007868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530450"/>
            <a:ext cx="2835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5845181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6362700"/>
            <a:ext cx="4195762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457761"/>
            <a:ext cx="14985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102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tags" Target="../tags/tag1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tags" Target="../tags/tag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vmlDrawing" Target="../drawings/vmlDrawing5.v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theme" Target="../theme/theme3.xml"/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oleObject" Target="../embeddings/oleObject5.bin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oleObject" Target="../embeddings/oleObject9.bin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4" Type="http://schemas.openxmlformats.org/officeDocument/2006/relationships/tags" Target="../tags/tag9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vmlDrawing" Target="../drawings/vmlDrawing9.vml"/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3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slideLayout" Target="../slideLayouts/slideLayout163.xml"/><Relationship Id="rId39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58.xml"/><Relationship Id="rId34" Type="http://schemas.openxmlformats.org/officeDocument/2006/relationships/slideLayout" Target="../slideLayouts/slideLayout171.xml"/><Relationship Id="rId42" Type="http://schemas.openxmlformats.org/officeDocument/2006/relationships/theme" Target="../theme/theme5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slideLayout" Target="../slideLayouts/slideLayout174.xml"/><Relationship Id="rId40" Type="http://schemas.openxmlformats.org/officeDocument/2006/relationships/slideLayout" Target="../slideLayouts/slideLayout177.xml"/><Relationship Id="rId45" Type="http://schemas.openxmlformats.org/officeDocument/2006/relationships/oleObject" Target="../embeddings/oleObject9.bin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68.xml"/><Relationship Id="rId44" Type="http://schemas.openxmlformats.org/officeDocument/2006/relationships/tags" Target="../tags/tag13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43" Type="http://schemas.openxmlformats.org/officeDocument/2006/relationships/vmlDrawing" Target="../drawings/vmlDrawing13.vml"/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38" Type="http://schemas.openxmlformats.org/officeDocument/2006/relationships/slideLayout" Target="../slideLayouts/slideLayout175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157.xml"/><Relationship Id="rId41" Type="http://schemas.openxmlformats.org/officeDocument/2006/relationships/slideLayout" Target="../slideLayouts/slideLayout17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slideLayout" Target="../slideLayouts/slideLayout204.xml"/><Relationship Id="rId39" Type="http://schemas.openxmlformats.org/officeDocument/2006/relationships/slideLayout" Target="../slideLayouts/slideLayout217.xml"/><Relationship Id="rId21" Type="http://schemas.openxmlformats.org/officeDocument/2006/relationships/slideLayout" Target="../slideLayouts/slideLayout199.xml"/><Relationship Id="rId34" Type="http://schemas.openxmlformats.org/officeDocument/2006/relationships/slideLayout" Target="../slideLayouts/slideLayout212.xml"/><Relationship Id="rId42" Type="http://schemas.openxmlformats.org/officeDocument/2006/relationships/theme" Target="../theme/theme6.xml"/><Relationship Id="rId7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9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202.xml"/><Relationship Id="rId32" Type="http://schemas.openxmlformats.org/officeDocument/2006/relationships/slideLayout" Target="../slideLayouts/slideLayout210.xml"/><Relationship Id="rId37" Type="http://schemas.openxmlformats.org/officeDocument/2006/relationships/slideLayout" Target="../slideLayouts/slideLayout215.xml"/><Relationship Id="rId40" Type="http://schemas.openxmlformats.org/officeDocument/2006/relationships/slideLayout" Target="../slideLayouts/slideLayout218.xml"/><Relationship Id="rId45" Type="http://schemas.openxmlformats.org/officeDocument/2006/relationships/oleObject" Target="../embeddings/oleObject9.bin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slideLayout" Target="../slideLayouts/slideLayout201.xml"/><Relationship Id="rId28" Type="http://schemas.openxmlformats.org/officeDocument/2006/relationships/slideLayout" Target="../slideLayouts/slideLayout206.xml"/><Relationship Id="rId36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31" Type="http://schemas.openxmlformats.org/officeDocument/2006/relationships/slideLayout" Target="../slideLayouts/slideLayout209.xml"/><Relationship Id="rId44" Type="http://schemas.openxmlformats.org/officeDocument/2006/relationships/tags" Target="../tags/tag17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200.xml"/><Relationship Id="rId27" Type="http://schemas.openxmlformats.org/officeDocument/2006/relationships/slideLayout" Target="../slideLayouts/slideLayout205.xml"/><Relationship Id="rId30" Type="http://schemas.openxmlformats.org/officeDocument/2006/relationships/slideLayout" Target="../slideLayouts/slideLayout208.xml"/><Relationship Id="rId35" Type="http://schemas.openxmlformats.org/officeDocument/2006/relationships/slideLayout" Target="../slideLayouts/slideLayout213.xml"/><Relationship Id="rId43" Type="http://schemas.openxmlformats.org/officeDocument/2006/relationships/vmlDrawing" Target="../drawings/vmlDrawing17.vml"/><Relationship Id="rId8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slideLayout" Target="../slideLayouts/slideLayout203.xml"/><Relationship Id="rId33" Type="http://schemas.openxmlformats.org/officeDocument/2006/relationships/slideLayout" Target="../slideLayouts/slideLayout211.xml"/><Relationship Id="rId38" Type="http://schemas.openxmlformats.org/officeDocument/2006/relationships/slideLayout" Target="../slideLayouts/slideLayout216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198.xml"/><Relationship Id="rId41" Type="http://schemas.openxmlformats.org/officeDocument/2006/relationships/slideLayout" Target="../slideLayouts/slideLayout219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2.xml"/><Relationship Id="rId18" Type="http://schemas.openxmlformats.org/officeDocument/2006/relationships/slideLayout" Target="../slideLayouts/slideLayout237.xml"/><Relationship Id="rId26" Type="http://schemas.openxmlformats.org/officeDocument/2006/relationships/slideLayout" Target="../slideLayouts/slideLayout245.xml"/><Relationship Id="rId39" Type="http://schemas.openxmlformats.org/officeDocument/2006/relationships/slideLayout" Target="../slideLayouts/slideLayout258.xml"/><Relationship Id="rId21" Type="http://schemas.openxmlformats.org/officeDocument/2006/relationships/slideLayout" Target="../slideLayouts/slideLayout240.xml"/><Relationship Id="rId34" Type="http://schemas.openxmlformats.org/officeDocument/2006/relationships/slideLayout" Target="../slideLayouts/slideLayout253.xml"/><Relationship Id="rId42" Type="http://schemas.openxmlformats.org/officeDocument/2006/relationships/theme" Target="../theme/theme7.xml"/><Relationship Id="rId7" Type="http://schemas.openxmlformats.org/officeDocument/2006/relationships/slideLayout" Target="../slideLayouts/slideLayout226.xml"/><Relationship Id="rId2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35.xml"/><Relationship Id="rId29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24" Type="http://schemas.openxmlformats.org/officeDocument/2006/relationships/slideLayout" Target="../slideLayouts/slideLayout243.xml"/><Relationship Id="rId32" Type="http://schemas.openxmlformats.org/officeDocument/2006/relationships/slideLayout" Target="../slideLayouts/slideLayout251.xml"/><Relationship Id="rId37" Type="http://schemas.openxmlformats.org/officeDocument/2006/relationships/slideLayout" Target="../slideLayouts/slideLayout256.xml"/><Relationship Id="rId40" Type="http://schemas.openxmlformats.org/officeDocument/2006/relationships/slideLayout" Target="../slideLayouts/slideLayout259.xml"/><Relationship Id="rId45" Type="http://schemas.openxmlformats.org/officeDocument/2006/relationships/oleObject" Target="../embeddings/oleObject9.bin"/><Relationship Id="rId5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34.xml"/><Relationship Id="rId23" Type="http://schemas.openxmlformats.org/officeDocument/2006/relationships/slideLayout" Target="../slideLayouts/slideLayout242.xml"/><Relationship Id="rId28" Type="http://schemas.openxmlformats.org/officeDocument/2006/relationships/slideLayout" Target="../slideLayouts/slideLayout247.xml"/><Relationship Id="rId36" Type="http://schemas.openxmlformats.org/officeDocument/2006/relationships/slideLayout" Target="../slideLayouts/slideLayout255.xml"/><Relationship Id="rId10" Type="http://schemas.openxmlformats.org/officeDocument/2006/relationships/slideLayout" Target="../slideLayouts/slideLayout229.xml"/><Relationship Id="rId19" Type="http://schemas.openxmlformats.org/officeDocument/2006/relationships/slideLayout" Target="../slideLayouts/slideLayout238.xml"/><Relationship Id="rId31" Type="http://schemas.openxmlformats.org/officeDocument/2006/relationships/slideLayout" Target="../slideLayouts/slideLayout250.xml"/><Relationship Id="rId44" Type="http://schemas.openxmlformats.org/officeDocument/2006/relationships/tags" Target="../tags/tag21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Relationship Id="rId22" Type="http://schemas.openxmlformats.org/officeDocument/2006/relationships/slideLayout" Target="../slideLayouts/slideLayout241.xml"/><Relationship Id="rId27" Type="http://schemas.openxmlformats.org/officeDocument/2006/relationships/slideLayout" Target="../slideLayouts/slideLayout246.xml"/><Relationship Id="rId30" Type="http://schemas.openxmlformats.org/officeDocument/2006/relationships/slideLayout" Target="../slideLayouts/slideLayout249.xml"/><Relationship Id="rId35" Type="http://schemas.openxmlformats.org/officeDocument/2006/relationships/slideLayout" Target="../slideLayouts/slideLayout254.xml"/><Relationship Id="rId43" Type="http://schemas.openxmlformats.org/officeDocument/2006/relationships/vmlDrawing" Target="../drawings/vmlDrawing21.vml"/><Relationship Id="rId8" Type="http://schemas.openxmlformats.org/officeDocument/2006/relationships/slideLayout" Target="../slideLayouts/slideLayout227.xml"/><Relationship Id="rId3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31.xml"/><Relationship Id="rId17" Type="http://schemas.openxmlformats.org/officeDocument/2006/relationships/slideLayout" Target="../slideLayouts/slideLayout236.xml"/><Relationship Id="rId25" Type="http://schemas.openxmlformats.org/officeDocument/2006/relationships/slideLayout" Target="../slideLayouts/slideLayout244.xml"/><Relationship Id="rId33" Type="http://schemas.openxmlformats.org/officeDocument/2006/relationships/slideLayout" Target="../slideLayouts/slideLayout252.xml"/><Relationship Id="rId38" Type="http://schemas.openxmlformats.org/officeDocument/2006/relationships/slideLayout" Target="../slideLayouts/slideLayout257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39.xml"/><Relationship Id="rId41" Type="http://schemas.openxmlformats.org/officeDocument/2006/relationships/slideLayout" Target="../slideLayouts/slideLayout26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26" Type="http://schemas.openxmlformats.org/officeDocument/2006/relationships/slideLayout" Target="../slideLayouts/slideLayout286.xml"/><Relationship Id="rId3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81.xml"/><Relationship Id="rId34" Type="http://schemas.openxmlformats.org/officeDocument/2006/relationships/slideLayout" Target="../slideLayouts/slideLayout294.xml"/><Relationship Id="rId42" Type="http://schemas.openxmlformats.org/officeDocument/2006/relationships/theme" Target="../theme/theme8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84.xml"/><Relationship Id="rId32" Type="http://schemas.openxmlformats.org/officeDocument/2006/relationships/slideLayout" Target="../slideLayouts/slideLayout292.xml"/><Relationship Id="rId3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300.xml"/><Relationship Id="rId45" Type="http://schemas.openxmlformats.org/officeDocument/2006/relationships/oleObject" Target="../embeddings/oleObject9.bin"/><Relationship Id="rId5" Type="http://schemas.openxmlformats.org/officeDocument/2006/relationships/slideLayout" Target="../slideLayouts/slideLayout265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28" Type="http://schemas.openxmlformats.org/officeDocument/2006/relationships/slideLayout" Target="../slideLayouts/slideLayout288.xml"/><Relationship Id="rId36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270.xml"/><Relationship Id="rId19" Type="http://schemas.openxmlformats.org/officeDocument/2006/relationships/slideLayout" Target="../slideLayouts/slideLayout279.xml"/><Relationship Id="rId31" Type="http://schemas.openxmlformats.org/officeDocument/2006/relationships/slideLayout" Target="../slideLayouts/slideLayout291.xml"/><Relationship Id="rId44" Type="http://schemas.openxmlformats.org/officeDocument/2006/relationships/tags" Target="../tags/tag25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Relationship Id="rId2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290.xml"/><Relationship Id="rId35" Type="http://schemas.openxmlformats.org/officeDocument/2006/relationships/slideLayout" Target="../slideLayouts/slideLayout295.xml"/><Relationship Id="rId43" Type="http://schemas.openxmlformats.org/officeDocument/2006/relationships/vmlDrawing" Target="../drawings/vmlDrawing25.vml"/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5" Type="http://schemas.openxmlformats.org/officeDocument/2006/relationships/slideLayout" Target="../slideLayouts/slideLayout285.xml"/><Relationship Id="rId33" Type="http://schemas.openxmlformats.org/officeDocument/2006/relationships/slideLayout" Target="../slideLayouts/slideLayout293.xml"/><Relationship Id="rId38" Type="http://schemas.openxmlformats.org/officeDocument/2006/relationships/slideLayout" Target="../slideLayouts/slideLayout29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80.xml"/><Relationship Id="rId41" Type="http://schemas.openxmlformats.org/officeDocument/2006/relationships/slideLayout" Target="../slideLayouts/slideLayout3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07F954-CEF2-4DDC-BC81-4D70CA18237A}" type="datetimeFigureOut">
              <a:rPr lang="en-US" smtClean="0"/>
              <a:t>3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A64D54-1854-4A5A-ACAB-732A71048C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79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763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62383244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>
                <a:solidFill>
                  <a:schemeClr val="tx1"/>
                </a:solidFill>
                <a:latin typeface="+mn-lt"/>
              </a:rPr>
              <a:t>Copyright © 2020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165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12" r:id="rId35"/>
    <p:sldLayoutId id="2147483713" r:id="rId36"/>
    <p:sldLayoutId id="2147483714" r:id="rId37"/>
    <p:sldLayoutId id="2147483715" r:id="rId38"/>
    <p:sldLayoutId id="2147483716" r:id="rId39"/>
    <p:sldLayoutId id="2147483717" r:id="rId40"/>
    <p:sldLayoutId id="2147483718" r:id="rId41"/>
    <p:sldLayoutId id="2147483719" r:id="rId42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34555024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634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  <p:sldLayoutId id="2147483758" r:id="rId38"/>
    <p:sldLayoutId id="2147483759" r:id="rId39"/>
    <p:sldLayoutId id="2147483760" r:id="rId40"/>
    <p:sldLayoutId id="2147483761" r:id="rId41"/>
    <p:sldLayoutId id="2147483762" r:id="rId42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07994132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698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  <p:sldLayoutId id="2147483795" r:id="rId31"/>
    <p:sldLayoutId id="2147483796" r:id="rId32"/>
    <p:sldLayoutId id="2147483797" r:id="rId33"/>
    <p:sldLayoutId id="2147483798" r:id="rId34"/>
    <p:sldLayoutId id="2147483799" r:id="rId35"/>
    <p:sldLayoutId id="2147483800" r:id="rId36"/>
    <p:sldLayoutId id="2147483801" r:id="rId37"/>
    <p:sldLayoutId id="2147483802" r:id="rId38"/>
    <p:sldLayoutId id="2147483803" r:id="rId39"/>
    <p:sldLayoutId id="2147483804" r:id="rId40"/>
    <p:sldLayoutId id="2147483805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8064723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698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7" r:id="rId31"/>
    <p:sldLayoutId id="2147483838" r:id="rId32"/>
    <p:sldLayoutId id="2147483839" r:id="rId33"/>
    <p:sldLayoutId id="2147483840" r:id="rId34"/>
    <p:sldLayoutId id="2147483841" r:id="rId35"/>
    <p:sldLayoutId id="2147483842" r:id="rId36"/>
    <p:sldLayoutId id="2147483843" r:id="rId37"/>
    <p:sldLayoutId id="2147483844" r:id="rId38"/>
    <p:sldLayoutId id="2147483845" r:id="rId39"/>
    <p:sldLayoutId id="2147483846" r:id="rId40"/>
    <p:sldLayoutId id="2147483847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92347781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790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  <p:sldLayoutId id="2147483888" r:id="rId40"/>
    <p:sldLayoutId id="2147483889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94744510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58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  <p:sldLayoutId id="2147483911" r:id="rId21"/>
    <p:sldLayoutId id="2147483912" r:id="rId22"/>
    <p:sldLayoutId id="2147483913" r:id="rId23"/>
    <p:sldLayoutId id="2147483914" r:id="rId24"/>
    <p:sldLayoutId id="2147483915" r:id="rId25"/>
    <p:sldLayoutId id="2147483916" r:id="rId26"/>
    <p:sldLayoutId id="2147483917" r:id="rId27"/>
    <p:sldLayoutId id="2147483918" r:id="rId28"/>
    <p:sldLayoutId id="2147483919" r:id="rId29"/>
    <p:sldLayoutId id="2147483920" r:id="rId30"/>
    <p:sldLayoutId id="2147483921" r:id="rId31"/>
    <p:sldLayoutId id="2147483922" r:id="rId32"/>
    <p:sldLayoutId id="2147483923" r:id="rId33"/>
    <p:sldLayoutId id="2147483924" r:id="rId34"/>
    <p:sldLayoutId id="2147483925" r:id="rId35"/>
    <p:sldLayoutId id="2147483926" r:id="rId36"/>
    <p:sldLayoutId id="2147483927" r:id="rId37"/>
    <p:sldLayoutId id="2147483928" r:id="rId38"/>
    <p:sldLayoutId id="2147483929" r:id="rId39"/>
    <p:sldLayoutId id="2147483930" r:id="rId40"/>
    <p:sldLayoutId id="2147483931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90949281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tx1"/>
                </a:solidFill>
              </a:rPr>
              <a:t>Blockchain Guild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52426" y="6477001"/>
            <a:ext cx="4016375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914378" rtl="0" eaLnBrk="1" latinLnBrk="0" hangingPunct="1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856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3951" r:id="rId19"/>
    <p:sldLayoutId id="2147483952" r:id="rId20"/>
    <p:sldLayoutId id="2147483953" r:id="rId21"/>
    <p:sldLayoutId id="2147483954" r:id="rId22"/>
    <p:sldLayoutId id="2147483955" r:id="rId23"/>
    <p:sldLayoutId id="2147483956" r:id="rId24"/>
    <p:sldLayoutId id="2147483957" r:id="rId25"/>
    <p:sldLayoutId id="2147483958" r:id="rId26"/>
    <p:sldLayoutId id="2147483959" r:id="rId27"/>
    <p:sldLayoutId id="2147483960" r:id="rId28"/>
    <p:sldLayoutId id="2147483961" r:id="rId29"/>
    <p:sldLayoutId id="2147483962" r:id="rId30"/>
    <p:sldLayoutId id="2147483963" r:id="rId31"/>
    <p:sldLayoutId id="2147483964" r:id="rId32"/>
    <p:sldLayoutId id="2147483965" r:id="rId33"/>
    <p:sldLayoutId id="2147483966" r:id="rId34"/>
    <p:sldLayoutId id="2147483967" r:id="rId35"/>
    <p:sldLayoutId id="2147483968" r:id="rId36"/>
    <p:sldLayoutId id="2147483969" r:id="rId37"/>
    <p:sldLayoutId id="2147483970" r:id="rId38"/>
    <p:sldLayoutId id="2147483971" r:id="rId39"/>
    <p:sldLayoutId id="2147483972" r:id="rId40"/>
    <p:sldLayoutId id="2147483973" r:id="rId41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952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095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23850" indent="-9525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438150" indent="-9525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openxmlformats.org/officeDocument/2006/relationships/image" Target="../media/image12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1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3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11" Type="http://schemas.openxmlformats.org/officeDocument/2006/relationships/image" Target="../media/image21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20.sv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6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Flowchart: Document 134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8631" y="0"/>
            <a:ext cx="2436019" cy="3400426"/>
          </a:xfrm>
          <a:prstGeom prst="flowChartDocumen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E128922-8B8A-4253-A36F-D6E344AFD36E}"/>
              </a:ext>
            </a:extLst>
          </p:cNvPr>
          <p:cNvSpPr/>
          <p:nvPr/>
        </p:nvSpPr>
        <p:spPr>
          <a:xfrm>
            <a:off x="628650" y="171162"/>
            <a:ext cx="2130136" cy="2371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 b="0" kern="1200" cap="none" spc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rPr>
              <a:t>Blockchain Ethereum Project</a:t>
            </a:r>
          </a:p>
        </p:txBody>
      </p:sp>
      <p:pic>
        <p:nvPicPr>
          <p:cNvPr id="34818" name="Picture 2">
            <a:extLst>
              <a:ext uri="{FF2B5EF4-FFF2-40B4-BE49-F238E27FC236}">
                <a16:creationId xmlns:a16="http://schemas.microsoft.com/office/drawing/2014/main" id="{51AE78A3-E9D1-4747-A163-28C6320AA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48265" y="639592"/>
            <a:ext cx="3430971" cy="5578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0E35995-02D1-4C22-8876-BAB996298D1B}"/>
              </a:ext>
            </a:extLst>
          </p:cNvPr>
          <p:cNvSpPr txBox="1"/>
          <p:nvPr/>
        </p:nvSpPr>
        <p:spPr>
          <a:xfrm>
            <a:off x="347690" y="4029075"/>
            <a:ext cx="46005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/>
              <a:t>Covid</a:t>
            </a:r>
            <a:r>
              <a:rPr lang="en-US" sz="3200" b="1" dirty="0"/>
              <a:t> Donation Manager</a:t>
            </a:r>
          </a:p>
        </p:txBody>
      </p:sp>
    </p:spTree>
    <p:extLst>
      <p:ext uri="{BB962C8B-B14F-4D97-AF65-F5344CB8AC3E}">
        <p14:creationId xmlns:p14="http://schemas.microsoft.com/office/powerpoint/2010/main" val="3092037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33700" y="221612"/>
            <a:ext cx="3514725" cy="616588"/>
          </a:xfrm>
        </p:spPr>
        <p:txBody>
          <a:bodyPr/>
          <a:lstStyle/>
          <a:p>
            <a:r>
              <a:rPr lang="en-US" sz="4000" b="0" noProof="0" dirty="0">
                <a:latin typeface="Calibri Light" panose="020F0302020204030204" pitchFamily="34" charset="0"/>
                <a:cs typeface="Calibri Light" panose="020F0302020204030204" pitchFamily="34" charset="0"/>
              </a:rPr>
              <a:t>Front-end Flow</a:t>
            </a:r>
          </a:p>
        </p:txBody>
      </p:sp>
      <p:pic>
        <p:nvPicPr>
          <p:cNvPr id="14" name="Picture 1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977C1EB-B21B-445A-A959-FC5D0B0DAD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582" y="1601756"/>
            <a:ext cx="7250837" cy="365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6281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96409" y="345376"/>
            <a:ext cx="2275673" cy="568963"/>
          </a:xfrm>
        </p:spPr>
        <p:txBody>
          <a:bodyPr/>
          <a:lstStyle/>
          <a:p>
            <a:r>
              <a:rPr lang="en-US" sz="4000" b="0" dirty="0">
                <a:latin typeface="Calibri Light" panose="020F0302020204030204" pitchFamily="34" charset="0"/>
                <a:cs typeface="Calibri Light" panose="020F0302020204030204" pitchFamily="34" charset="0"/>
              </a:rPr>
              <a:t>Tools Used</a:t>
            </a:r>
            <a:endParaRPr lang="en-US" sz="4000" b="0" noProof="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D05422C-4989-48AE-B006-311895459453}"/>
              </a:ext>
            </a:extLst>
          </p:cNvPr>
          <p:cNvGrpSpPr/>
          <p:nvPr/>
        </p:nvGrpSpPr>
        <p:grpSpPr>
          <a:xfrm>
            <a:off x="720717" y="1768597"/>
            <a:ext cx="2145980" cy="1454043"/>
            <a:chOff x="498815" y="1420427"/>
            <a:chExt cx="2861307" cy="1938724"/>
          </a:xfrm>
        </p:grpSpPr>
        <p:pic>
          <p:nvPicPr>
            <p:cNvPr id="5122" name="Picture 2" descr="React (JavaScript library) - Wikipedia">
              <a:extLst>
                <a:ext uri="{FF2B5EF4-FFF2-40B4-BE49-F238E27FC236}">
                  <a16:creationId xmlns:a16="http://schemas.microsoft.com/office/drawing/2014/main" id="{B74A8A06-F726-4F48-8393-EF773C03CB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815" y="1558926"/>
              <a:ext cx="2543175" cy="1800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AFF99D5-2437-4C4C-86D4-9CBCA669D10A}"/>
                </a:ext>
              </a:extLst>
            </p:cNvPr>
            <p:cNvSpPr txBox="1"/>
            <p:nvPr/>
          </p:nvSpPr>
          <p:spPr>
            <a:xfrm>
              <a:off x="1260628" y="1420427"/>
              <a:ext cx="2099494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Aft>
                  <a:spcPts val="1000"/>
                </a:spcAft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Front-end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D0C6BE2-66A9-4B78-9204-30750DCA0CB3}"/>
              </a:ext>
            </a:extLst>
          </p:cNvPr>
          <p:cNvGrpSpPr/>
          <p:nvPr/>
        </p:nvGrpSpPr>
        <p:grpSpPr>
          <a:xfrm>
            <a:off x="3795192" y="1768597"/>
            <a:ext cx="1211128" cy="1374744"/>
            <a:chOff x="4198846" y="1330525"/>
            <a:chExt cx="1614837" cy="1832992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75DD6D0C-E78D-4CB5-BBAE-06CD40847D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8846" y="1725242"/>
              <a:ext cx="1438275" cy="14382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191E66A-F723-4FF2-87FC-89BC21F45302}"/>
                </a:ext>
              </a:extLst>
            </p:cNvPr>
            <p:cNvSpPr txBox="1"/>
            <p:nvPr/>
          </p:nvSpPr>
          <p:spPr>
            <a:xfrm>
              <a:off x="4668465" y="1330525"/>
              <a:ext cx="1145218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IDE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B7F7D5B-07FA-42FC-82C3-69463DB0343A}"/>
              </a:ext>
            </a:extLst>
          </p:cNvPr>
          <p:cNvGrpSpPr/>
          <p:nvPr/>
        </p:nvGrpSpPr>
        <p:grpSpPr>
          <a:xfrm>
            <a:off x="821038" y="3692592"/>
            <a:ext cx="1543213" cy="1451326"/>
            <a:chOff x="1897771" y="4065972"/>
            <a:chExt cx="2057617" cy="1935101"/>
          </a:xfrm>
        </p:grpSpPr>
        <p:pic>
          <p:nvPicPr>
            <p:cNvPr id="5128" name="Picture 8" descr="git-scm.com/images/logos/downloads/Git-Icon-178...">
              <a:extLst>
                <a:ext uri="{FF2B5EF4-FFF2-40B4-BE49-F238E27FC236}">
                  <a16:creationId xmlns:a16="http://schemas.microsoft.com/office/drawing/2014/main" id="{2F2C3D62-9533-4C65-84D5-D35245ED6A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7848" y="4423611"/>
              <a:ext cx="1577462" cy="157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F9C3236-4DD2-415C-8293-DD3F493AAE6E}"/>
                </a:ext>
              </a:extLst>
            </p:cNvPr>
            <p:cNvSpPr txBox="1"/>
            <p:nvPr/>
          </p:nvSpPr>
          <p:spPr>
            <a:xfrm>
              <a:off x="1897771" y="4065972"/>
              <a:ext cx="2057617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Collaboration Tool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8679034-40CB-46CD-A660-6E84875085C5}"/>
              </a:ext>
            </a:extLst>
          </p:cNvPr>
          <p:cNvGrpSpPr/>
          <p:nvPr/>
        </p:nvGrpSpPr>
        <p:grpSpPr>
          <a:xfrm>
            <a:off x="6338657" y="1772221"/>
            <a:ext cx="2084627" cy="1371120"/>
            <a:chOff x="6728481" y="1330525"/>
            <a:chExt cx="2779503" cy="1828160"/>
          </a:xfrm>
        </p:grpSpPr>
        <p:pic>
          <p:nvPicPr>
            <p:cNvPr id="5126" name="Picture 6" descr="Node.js - Wikipedia">
              <a:extLst>
                <a:ext uri="{FF2B5EF4-FFF2-40B4-BE49-F238E27FC236}">
                  <a16:creationId xmlns:a16="http://schemas.microsoft.com/office/drawing/2014/main" id="{4281CD60-D3BC-47B0-A1F6-29F617BEB2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8481" y="1687591"/>
              <a:ext cx="2405170" cy="14710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BF9168C-373D-4314-99D3-33CF1686C9C7}"/>
                </a:ext>
              </a:extLst>
            </p:cNvPr>
            <p:cNvSpPr txBox="1"/>
            <p:nvPr/>
          </p:nvSpPr>
          <p:spPr>
            <a:xfrm>
              <a:off x="7206386" y="1330525"/>
              <a:ext cx="2301598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Back-end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C52E256-5DDE-44E5-801E-C443BA32094E}"/>
              </a:ext>
            </a:extLst>
          </p:cNvPr>
          <p:cNvGrpSpPr/>
          <p:nvPr/>
        </p:nvGrpSpPr>
        <p:grpSpPr>
          <a:xfrm>
            <a:off x="3070608" y="3684861"/>
            <a:ext cx="3268049" cy="1266554"/>
            <a:chOff x="5791418" y="4058117"/>
            <a:chExt cx="4357399" cy="1688739"/>
          </a:xfrm>
        </p:grpSpPr>
        <p:pic>
          <p:nvPicPr>
            <p:cNvPr id="5132" name="Picture 12" descr="Amazon Web Services - Wikipedia">
              <a:extLst>
                <a:ext uri="{FF2B5EF4-FFF2-40B4-BE49-F238E27FC236}">
                  <a16:creationId xmlns:a16="http://schemas.microsoft.com/office/drawing/2014/main" id="{81B0FA99-C1C2-4E45-BDF8-DB580C2792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1418" y="4682737"/>
              <a:ext cx="1773531" cy="10641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140A87E-990C-40B7-BF4C-EF871CC69262}"/>
                </a:ext>
              </a:extLst>
            </p:cNvPr>
            <p:cNvSpPr txBox="1"/>
            <p:nvPr/>
          </p:nvSpPr>
          <p:spPr>
            <a:xfrm>
              <a:off x="6992339" y="4058117"/>
              <a:ext cx="2122556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Deployment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7DBD09C-3637-4B58-ABA5-EF91CE7E0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37952" y="4598162"/>
              <a:ext cx="2310865" cy="1064119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926CA26-45DC-4115-B844-F4D3E507AA59}"/>
              </a:ext>
            </a:extLst>
          </p:cNvPr>
          <p:cNvGrpSpPr/>
          <p:nvPr/>
        </p:nvGrpSpPr>
        <p:grpSpPr>
          <a:xfrm>
            <a:off x="6779752" y="3692592"/>
            <a:ext cx="1936226" cy="1704298"/>
            <a:chOff x="9039668" y="3780456"/>
            <a:chExt cx="2581635" cy="22723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6CA569F-E794-4FF5-BA8E-8BC41E41D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039668" y="3918955"/>
              <a:ext cx="2581635" cy="2133898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6328237-903C-440E-833C-85137DADAB73}"/>
                </a:ext>
              </a:extLst>
            </p:cNvPr>
            <p:cNvSpPr txBox="1"/>
            <p:nvPr/>
          </p:nvSpPr>
          <p:spPr>
            <a:xfrm>
              <a:off x="9457300" y="3780456"/>
              <a:ext cx="1968262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914378">
                <a:spcBef>
                  <a:spcPts val="150"/>
                </a:spcBef>
                <a:buSzPct val="100000"/>
              </a:pPr>
              <a:r>
                <a:rPr lang="en-US" sz="1350" dirty="0">
                  <a:solidFill>
                    <a:srgbClr val="575757"/>
                  </a:solidFill>
                  <a:latin typeface="Verdana"/>
                </a:rPr>
                <a:t>Wallet Provider</a:t>
              </a:r>
              <a:endParaRPr lang="en-US" sz="900" dirty="0">
                <a:solidFill>
                  <a:prstClr val="black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46755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93281A3-38BF-46A8-B114-7930666A1223}"/>
              </a:ext>
            </a:extLst>
          </p:cNvPr>
          <p:cNvSpPr txBox="1"/>
          <p:nvPr/>
        </p:nvSpPr>
        <p:spPr>
          <a:xfrm>
            <a:off x="1447800" y="2730668"/>
            <a:ext cx="665797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accent6"/>
                </a:solidFill>
              </a:rPr>
              <a:t>Live Demonstration</a:t>
            </a:r>
          </a:p>
          <a:p>
            <a:r>
              <a:rPr lang="en-US" sz="4000" dirty="0"/>
              <a:t>Video Attached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832256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>
            <a:alpha val="9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99A8B4F-0FED-46C0-9186-5A8E116D87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1678" y="0"/>
            <a:ext cx="4862322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A6861EE-7660-46C9-80BD-173B8F7454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2E519AF-5134-4713-95C5-3F62704AD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7363"/>
            <a:ext cx="6230407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4000" dirty="0">
                <a:solidFill>
                  <a:srgbClr val="000000"/>
                </a:solidFill>
              </a:rPr>
              <a:t>Future Development Aspec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A6A888-7FC7-4818-96FC-D03F1E30052C}"/>
              </a:ext>
            </a:extLst>
          </p:cNvPr>
          <p:cNvSpPr txBox="1"/>
          <p:nvPr/>
        </p:nvSpPr>
        <p:spPr>
          <a:xfrm>
            <a:off x="290994" y="1541414"/>
            <a:ext cx="3713324" cy="44321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troducing the component of time and deadlines, so that if approvals don’t get confirmed in a specific time-frame, the Spending Requests become null and void and Ether amount gets returned to donor account</a:t>
            </a: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ssociating each Campaign address with the Campaign purpose for better visualization to viewers.</a:t>
            </a: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For scalability, when more users access the Application, then we can deploy it on AWS with auto-scaling to cater to the demands of new users.</a:t>
            </a:r>
          </a:p>
          <a:p>
            <a:pPr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8A69B74-22E3-47CC-823F-18BE7930C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67227" y="2960687"/>
            <a:ext cx="2001561" cy="2668748"/>
          </a:xfrm>
          <a:prstGeom prst="ellipse">
            <a:avLst/>
          </a:pr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71">
            <a:extLst>
              <a:ext uri="{FF2B5EF4-FFF2-40B4-BE49-F238E27FC236}">
                <a16:creationId xmlns:a16="http://schemas.microsoft.com/office/drawing/2014/main" id="{1778637B-5DB8-4A75-B2E6-FC2B1BB9A7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17760" y="2"/>
            <a:ext cx="3026240" cy="3428147"/>
          </a:xfrm>
          <a:custGeom>
            <a:avLst/>
            <a:gdLst>
              <a:gd name="connsiteX0" fmla="*/ 350825 w 4034987"/>
              <a:gd name="connsiteY0" fmla="*/ 0 h 3428147"/>
              <a:gd name="connsiteX1" fmla="*/ 4034987 w 4034987"/>
              <a:gd name="connsiteY1" fmla="*/ 0 h 3428147"/>
              <a:gd name="connsiteX2" fmla="*/ 4034987 w 4034987"/>
              <a:gd name="connsiteY2" fmla="*/ 2505205 h 3428147"/>
              <a:gd name="connsiteX3" fmla="*/ 3951822 w 4034987"/>
              <a:gd name="connsiteY3" fmla="*/ 2616420 h 3428147"/>
              <a:gd name="connsiteX4" fmla="*/ 2230590 w 4034987"/>
              <a:gd name="connsiteY4" fmla="*/ 3428147 h 3428147"/>
              <a:gd name="connsiteX5" fmla="*/ 0 w 4034987"/>
              <a:gd name="connsiteY5" fmla="*/ 1197557 h 3428147"/>
              <a:gd name="connsiteX6" fmla="*/ 269220 w 4034987"/>
              <a:gd name="connsiteY6" fmla="*/ 134326 h 3428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34987" h="3428147">
                <a:moveTo>
                  <a:pt x="350825" y="0"/>
                </a:moveTo>
                <a:lnTo>
                  <a:pt x="4034987" y="0"/>
                </a:lnTo>
                <a:lnTo>
                  <a:pt x="4034987" y="2505205"/>
                </a:lnTo>
                <a:lnTo>
                  <a:pt x="3951822" y="2616420"/>
                </a:lnTo>
                <a:cubicBezTo>
                  <a:pt x="3542699" y="3112162"/>
                  <a:pt x="2923546" y="3428147"/>
                  <a:pt x="2230590" y="3428147"/>
                </a:cubicBezTo>
                <a:cubicBezTo>
                  <a:pt x="998669" y="3428147"/>
                  <a:pt x="0" y="2429478"/>
                  <a:pt x="0" y="1197557"/>
                </a:cubicBezTo>
                <a:cubicBezTo>
                  <a:pt x="0" y="812582"/>
                  <a:pt x="97526" y="450385"/>
                  <a:pt x="269220" y="134326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 descr="Coins">
            <a:extLst>
              <a:ext uri="{FF2B5EF4-FFF2-40B4-BE49-F238E27FC236}">
                <a16:creationId xmlns:a16="http://schemas.microsoft.com/office/drawing/2014/main" id="{F082D838-F23F-4596-920D-69A0B726E1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69883" y="223418"/>
            <a:ext cx="2404379" cy="2404379"/>
          </a:xfrm>
          <a:prstGeom prst="rect">
            <a:avLst/>
          </a:prstGeom>
        </p:spPr>
      </p:pic>
      <p:pic>
        <p:nvPicPr>
          <p:cNvPr id="5" name="Graphic 4" descr="Stopwatch">
            <a:extLst>
              <a:ext uri="{FF2B5EF4-FFF2-40B4-BE49-F238E27FC236}">
                <a16:creationId xmlns:a16="http://schemas.microsoft.com/office/drawing/2014/main" id="{4B153AF3-318D-42B6-8227-23B56B803E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85359" y="3604538"/>
            <a:ext cx="1355369" cy="1355369"/>
          </a:xfrm>
          <a:prstGeom prst="rect">
            <a:avLst/>
          </a:prstGeom>
        </p:spPr>
      </p:pic>
      <p:sp>
        <p:nvSpPr>
          <p:cNvPr id="26" name="Freeform 75">
            <a:extLst>
              <a:ext uri="{FF2B5EF4-FFF2-40B4-BE49-F238E27FC236}">
                <a16:creationId xmlns:a16="http://schemas.microsoft.com/office/drawing/2014/main" id="{0035A30C-45F3-4EFB-B2E8-6E2A11843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94348" y="4258570"/>
            <a:ext cx="2349652" cy="2599430"/>
          </a:xfrm>
          <a:custGeom>
            <a:avLst/>
            <a:gdLst>
              <a:gd name="connsiteX0" fmla="*/ 1612418 w 3061881"/>
              <a:gd name="connsiteY0" fmla="*/ 0 h 2540529"/>
              <a:gd name="connsiteX1" fmla="*/ 3030226 w 3061881"/>
              <a:gd name="connsiteY1" fmla="*/ 843844 h 2540529"/>
              <a:gd name="connsiteX2" fmla="*/ 3061881 w 3061881"/>
              <a:gd name="connsiteY2" fmla="*/ 909556 h 2540529"/>
              <a:gd name="connsiteX3" fmla="*/ 3061881 w 3061881"/>
              <a:gd name="connsiteY3" fmla="*/ 2315281 h 2540529"/>
              <a:gd name="connsiteX4" fmla="*/ 3030226 w 3061881"/>
              <a:gd name="connsiteY4" fmla="*/ 2380992 h 2540529"/>
              <a:gd name="connsiteX5" fmla="*/ 2949460 w 3061881"/>
              <a:gd name="connsiteY5" fmla="*/ 2513937 h 2540529"/>
              <a:gd name="connsiteX6" fmla="*/ 2929575 w 3061881"/>
              <a:gd name="connsiteY6" fmla="*/ 2540529 h 2540529"/>
              <a:gd name="connsiteX7" fmla="*/ 295261 w 3061881"/>
              <a:gd name="connsiteY7" fmla="*/ 2540529 h 2540529"/>
              <a:gd name="connsiteX8" fmla="*/ 275376 w 3061881"/>
              <a:gd name="connsiteY8" fmla="*/ 2513937 h 2540529"/>
              <a:gd name="connsiteX9" fmla="*/ 0 w 3061881"/>
              <a:gd name="connsiteY9" fmla="*/ 1612418 h 2540529"/>
              <a:gd name="connsiteX10" fmla="*/ 1612418 w 3061881"/>
              <a:gd name="connsiteY10" fmla="*/ 0 h 2540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61881" h="2540529">
                <a:moveTo>
                  <a:pt x="1612418" y="0"/>
                </a:moveTo>
                <a:cubicBezTo>
                  <a:pt x="2224646" y="0"/>
                  <a:pt x="2757180" y="341213"/>
                  <a:pt x="3030226" y="843844"/>
                </a:cubicBezTo>
                <a:lnTo>
                  <a:pt x="3061881" y="909556"/>
                </a:lnTo>
                <a:lnTo>
                  <a:pt x="3061881" y="2315281"/>
                </a:lnTo>
                <a:lnTo>
                  <a:pt x="3030226" y="2380992"/>
                </a:lnTo>
                <a:cubicBezTo>
                  <a:pt x="3005404" y="2426686"/>
                  <a:pt x="2978437" y="2471046"/>
                  <a:pt x="2949460" y="2513937"/>
                </a:cubicBezTo>
                <a:lnTo>
                  <a:pt x="2929575" y="2540529"/>
                </a:lnTo>
                <a:lnTo>
                  <a:pt x="295261" y="2540529"/>
                </a:lnTo>
                <a:lnTo>
                  <a:pt x="275376" y="2513937"/>
                </a:lnTo>
                <a:cubicBezTo>
                  <a:pt x="101518" y="2256593"/>
                  <a:pt x="0" y="1946361"/>
                  <a:pt x="0" y="1612418"/>
                </a:cubicBezTo>
                <a:cubicBezTo>
                  <a:pt x="0" y="721904"/>
                  <a:pt x="721904" y="0"/>
                  <a:pt x="1612418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Graphic 12" descr="Clipboard">
            <a:extLst>
              <a:ext uri="{FF2B5EF4-FFF2-40B4-BE49-F238E27FC236}">
                <a16:creationId xmlns:a16="http://schemas.microsoft.com/office/drawing/2014/main" id="{B6EF9811-3D50-4B94-BCB6-0CBF6F4164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31486" y="5010263"/>
            <a:ext cx="1661466" cy="166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437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15200" y="212633"/>
            <a:ext cx="4561825" cy="377317"/>
          </a:xfrm>
        </p:spPr>
        <p:txBody>
          <a:bodyPr/>
          <a:lstStyle/>
          <a:p>
            <a:r>
              <a:rPr lang="en-US" sz="2400" noProof="0" dirty="0">
                <a:latin typeface="Calibri Light" panose="020F0302020204030204" pitchFamily="34" charset="0"/>
                <a:cs typeface="Calibri Light" panose="020F0302020204030204" pitchFamily="34" charset="0"/>
              </a:rPr>
              <a:t>Introduction – Siddharth Gargav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A798A7-6E8B-45AD-B0BE-A3AB3C449368}"/>
              </a:ext>
            </a:extLst>
          </p:cNvPr>
          <p:cNvSpPr txBox="1"/>
          <p:nvPr/>
        </p:nvSpPr>
        <p:spPr>
          <a:xfrm>
            <a:off x="128587" y="1464707"/>
            <a:ext cx="5595938" cy="202619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b="1" dirty="0"/>
              <a:t>Professional Background:</a:t>
            </a:r>
          </a:p>
          <a:p>
            <a:pPr>
              <a:spcBef>
                <a:spcPts val="200"/>
              </a:spcBef>
              <a:buSzPct val="100000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Graduated from Delhi College of Engineering with Bachelors in Electronics and Electrical Engineering</a:t>
            </a:r>
          </a:p>
          <a:p>
            <a:pPr>
              <a:spcBef>
                <a:spcPts val="200"/>
              </a:spcBef>
              <a:buSzPct val="100000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Expertise in implementing Java backend solutions for clients across industries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Involved in development of multiple Java innovation tools in my Emerging Technology team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73EA80-D6DB-4FA7-A8FB-E89B4C912A00}"/>
              </a:ext>
            </a:extLst>
          </p:cNvPr>
          <p:cNvSpPr txBox="1"/>
          <p:nvPr/>
        </p:nvSpPr>
        <p:spPr>
          <a:xfrm>
            <a:off x="128587" y="4077548"/>
            <a:ext cx="5995988" cy="200054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b="1" dirty="0"/>
              <a:t>Blockchain Background and Experience:</a:t>
            </a:r>
          </a:p>
          <a:p>
            <a:pPr>
              <a:spcBef>
                <a:spcPts val="200"/>
              </a:spcBef>
              <a:buSzPct val="100000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Developed a Java based blockchain of hashing difficulty Level-5 with Proof of Work (mining) system as a side project during my final year at College.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Currently leading the BG-03 Apprentice Cohort as USI Coordinator, involved in day-to-day mentoring activities for BG-03 members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200" dirty="0"/>
              <a:t>Associated with Blockchain Learning Guild team since 2019, developing learning content for the participants.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E45993C-5B92-4F8B-A924-B90299FCEA1A}"/>
              </a:ext>
            </a:extLst>
          </p:cNvPr>
          <p:cNvSpPr txBox="1"/>
          <p:nvPr/>
        </p:nvSpPr>
        <p:spPr>
          <a:xfrm>
            <a:off x="266699" y="811885"/>
            <a:ext cx="8305801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Throughout college I was interested in Coding and Cryptography, which naturally led me to Blockchain and I’ve been hooked up developing my blockchain technical skills ever since!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90DEF3B-040F-4A98-87AB-B35AA98552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845" y="1413478"/>
            <a:ext cx="2689206" cy="3015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74943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32E3633-33E5-4576-8CB3-6378A78C6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054" y="207131"/>
            <a:ext cx="7336631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Business Ca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5BC0C-9ABF-41A5-8B52-78D8F7A9BC77}"/>
              </a:ext>
            </a:extLst>
          </p:cNvPr>
          <p:cNvSpPr txBox="1"/>
          <p:nvPr/>
        </p:nvSpPr>
        <p:spPr>
          <a:xfrm>
            <a:off x="541289" y="871760"/>
            <a:ext cx="8265319" cy="1339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1" dirty="0"/>
              <a:t>Inspiration:</a:t>
            </a:r>
          </a:p>
          <a:p>
            <a:endParaRPr lang="en-US" sz="1351" dirty="0"/>
          </a:p>
          <a:p>
            <a:r>
              <a:rPr lang="en-US" sz="1351" dirty="0"/>
              <a:t>With the ongoing COVID’19 pandemic raging all over the world leaving a large section of the society vulnerable, our vision was to create an Application that could alleviate people from their suffering and contribute in a meaningful way to reduce devastating effects of Coronavirus.</a:t>
            </a:r>
          </a:p>
          <a:p>
            <a:r>
              <a:rPr lang="en-US" sz="1351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CC9E3C-B2CA-4430-9F2A-6DB40EDC8BB4}"/>
              </a:ext>
            </a:extLst>
          </p:cNvPr>
          <p:cNvSpPr txBox="1"/>
          <p:nvPr/>
        </p:nvSpPr>
        <p:spPr>
          <a:xfrm>
            <a:off x="541289" y="2211355"/>
            <a:ext cx="4264819" cy="17553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1" dirty="0"/>
              <a:t>Challenge:</a:t>
            </a:r>
          </a:p>
          <a:p>
            <a:endParaRPr lang="en-US" sz="1351" dirty="0"/>
          </a:p>
          <a:p>
            <a:r>
              <a:rPr lang="en-US" sz="1351" dirty="0"/>
              <a:t>While several Worldwide Agencies stepped in to collect funds and drive Donation Campaigns for different sections including medical workers, </a:t>
            </a:r>
            <a:r>
              <a:rPr lang="en-US" sz="1351" dirty="0" err="1"/>
              <a:t>Covid</a:t>
            </a:r>
            <a:r>
              <a:rPr lang="en-US" sz="1351" dirty="0"/>
              <a:t> patients. There was a spurt in unethical groups, who collected money from the well-intentioned public and used it for their personal benefits.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1873E6-1D8E-4E67-A840-3C6251B0CD12}"/>
              </a:ext>
            </a:extLst>
          </p:cNvPr>
          <p:cNvSpPr/>
          <p:nvPr/>
        </p:nvSpPr>
        <p:spPr>
          <a:xfrm>
            <a:off x="541288" y="4329349"/>
            <a:ext cx="3916413" cy="304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dirty="0">
                <a:highlight>
                  <a:srgbClr val="00FF00"/>
                </a:highlight>
                <a:ea typeface="Calibri" panose="020F0502020204030204" pitchFamily="34" charset="0"/>
                <a:cs typeface="Times New Roman" panose="02020603050405020304" pitchFamily="18" charset="0"/>
              </a:rPr>
              <a:t>From this challenge arose our problem statement: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1610AD-12EB-4DFC-B19D-C265E84767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7867" y="2099443"/>
            <a:ext cx="3848741" cy="220474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E30B39F-252C-42D7-9BE0-CC58C2415F7E}"/>
              </a:ext>
            </a:extLst>
          </p:cNvPr>
          <p:cNvSpPr/>
          <p:nvPr/>
        </p:nvSpPr>
        <p:spPr>
          <a:xfrm>
            <a:off x="376914" y="4844641"/>
            <a:ext cx="85123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57168" indent="-257168">
              <a:buFont typeface="Wingdings" panose="05000000000000000000" pitchFamily="2" charset="2"/>
              <a:buChar char="Ø"/>
            </a:pPr>
            <a:r>
              <a:rPr lang="en-US" sz="2400" b="1" dirty="0">
                <a:ea typeface="Calibri" panose="020F0502020204030204" pitchFamily="34" charset="0"/>
                <a:cs typeface="Times New Roman" panose="02020603050405020304" pitchFamily="18" charset="0"/>
              </a:rPr>
              <a:t>Bringing Accountability and Transparency into Donation system</a:t>
            </a:r>
            <a:endParaRPr lang="en-US" sz="2400" b="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33EA07F-9990-4E50-8DE0-A02B2E9D8438}"/>
              </a:ext>
            </a:extLst>
          </p:cNvPr>
          <p:cNvSpPr/>
          <p:nvPr/>
        </p:nvSpPr>
        <p:spPr>
          <a:xfrm>
            <a:off x="376914" y="5572893"/>
            <a:ext cx="8201025" cy="906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en-US" sz="1600" u="sng" dirty="0">
                <a:ea typeface="Calibri" panose="020F0502020204030204" pitchFamily="34" charset="0"/>
                <a:cs typeface="Times New Roman" panose="02020603050405020304" pitchFamily="18" charset="0"/>
              </a:rPr>
              <a:t>Accountability</a:t>
            </a:r>
            <a:r>
              <a:rPr lang="en-US" sz="1351" dirty="0">
                <a:ea typeface="Calibri" panose="020F0502020204030204" pitchFamily="34" charset="0"/>
                <a:cs typeface="Times New Roman" panose="02020603050405020304" pitchFamily="18" charset="0"/>
              </a:rPr>
              <a:t>: Increasing trust between Donors and Charity Organizations by introducing a system where Organizations can justify their financial decisions to the donors.</a:t>
            </a:r>
          </a:p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en-US" sz="1600" u="sng" dirty="0">
                <a:ea typeface="Calibri" panose="020F0502020204030204" pitchFamily="34" charset="0"/>
                <a:cs typeface="Times New Roman" panose="02020603050405020304" pitchFamily="18" charset="0"/>
              </a:rPr>
              <a:t>Transparency</a:t>
            </a:r>
            <a:r>
              <a:rPr lang="en-US" sz="1351" dirty="0">
                <a:ea typeface="Calibri" panose="020F0502020204030204" pitchFamily="34" charset="0"/>
                <a:cs typeface="Times New Roman" panose="02020603050405020304" pitchFamily="18" charset="0"/>
              </a:rPr>
              <a:t>: Donors should have real time insight into how their money is being spent.   </a:t>
            </a:r>
          </a:p>
        </p:txBody>
      </p:sp>
    </p:spTree>
    <p:extLst>
      <p:ext uri="{BB962C8B-B14F-4D97-AF65-F5344CB8AC3E}">
        <p14:creationId xmlns:p14="http://schemas.microsoft.com/office/powerpoint/2010/main" val="30705839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31112-E2A1-4CE4-BC0E-B59D74C16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84" y="289388"/>
            <a:ext cx="7765256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Solution: </a:t>
            </a:r>
            <a:r>
              <a:rPr lang="en-US" dirty="0" err="1"/>
              <a:t>Covid</a:t>
            </a:r>
            <a:r>
              <a:rPr lang="en-US" dirty="0"/>
              <a:t> Donation Manag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DF6D2C-0527-4FBE-96D0-F89BB83FB569}"/>
              </a:ext>
            </a:extLst>
          </p:cNvPr>
          <p:cNvSpPr/>
          <p:nvPr/>
        </p:nvSpPr>
        <p:spPr>
          <a:xfrm>
            <a:off x="409586" y="1022973"/>
            <a:ext cx="7586663" cy="1029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08" indent="-214308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hereum based portal which allows Ether payments over a decentralized network would be the way to solve our problem. </a:t>
            </a:r>
          </a:p>
          <a:p>
            <a:pPr marL="214308" indent="-214308">
              <a:buFont typeface="Arial" panose="020B0604020202020204" pitchFamily="34" charset="0"/>
              <a:buChar char="•"/>
            </a:pP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her stored in our Smart-Contracts and disbursed in-accordance with principles of Accountability and Transparency</a:t>
            </a:r>
            <a:endParaRPr lang="en-US" sz="135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228839-88CE-4C23-A848-6D77B3CE015A}"/>
              </a:ext>
            </a:extLst>
          </p:cNvPr>
          <p:cNvSpPr/>
          <p:nvPr/>
        </p:nvSpPr>
        <p:spPr>
          <a:xfrm>
            <a:off x="114789" y="5365590"/>
            <a:ext cx="9153047" cy="1203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dirty="0"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keholders: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or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: Well intentioned members of the public (like You and Me!) who wish to Donate to a trustworthy </a:t>
            </a:r>
            <a:r>
              <a:rPr lang="en-US" sz="135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tion</a:t>
            </a:r>
            <a:endParaRPr lang="en-US" sz="135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paign Manager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Member of Charity </a:t>
            </a:r>
            <a:r>
              <a:rPr lang="en-US" sz="135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tion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35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harge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a specific campaign 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35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ndor</a:t>
            </a:r>
            <a:r>
              <a:rPr lang="en-US" sz="135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hird party groups responsible for delivering services/goods to the Charity for successful execution of the Campaign. </a:t>
            </a: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F017D17-78B1-4E95-AF42-C1477E258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47" y="1997317"/>
            <a:ext cx="6327003" cy="332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059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31112-E2A1-4CE4-BC0E-B59D74C16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347" y="144060"/>
            <a:ext cx="7765256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Technical Aspects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957A487-3CDC-4398-9A3E-C78DF57AEA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4821168"/>
              </p:ext>
            </p:extLst>
          </p:nvPr>
        </p:nvGraphicFramePr>
        <p:xfrm>
          <a:off x="165500" y="1161081"/>
          <a:ext cx="7637861" cy="5296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Graphic 4" descr="Dollar">
            <a:extLst>
              <a:ext uri="{FF2B5EF4-FFF2-40B4-BE49-F238E27FC236}">
                <a16:creationId xmlns:a16="http://schemas.microsoft.com/office/drawing/2014/main" id="{7957E1CC-3E03-486B-9209-5351A843B5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76603" y="1251465"/>
            <a:ext cx="704850" cy="704850"/>
          </a:xfrm>
          <a:prstGeom prst="rect">
            <a:avLst/>
          </a:prstGeom>
        </p:spPr>
      </p:pic>
      <p:pic>
        <p:nvPicPr>
          <p:cNvPr id="9" name="Graphic 8" descr="Checklist RTL">
            <a:extLst>
              <a:ext uri="{FF2B5EF4-FFF2-40B4-BE49-F238E27FC236}">
                <a16:creationId xmlns:a16="http://schemas.microsoft.com/office/drawing/2014/main" id="{1FD25508-5CCA-47D9-840B-3B35622AE1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72425" y="2428875"/>
            <a:ext cx="914400" cy="914400"/>
          </a:xfrm>
          <a:prstGeom prst="rect">
            <a:avLst/>
          </a:prstGeom>
        </p:spPr>
      </p:pic>
      <p:pic>
        <p:nvPicPr>
          <p:cNvPr id="15" name="Graphic 14" descr="Connections">
            <a:extLst>
              <a:ext uri="{FF2B5EF4-FFF2-40B4-BE49-F238E27FC236}">
                <a16:creationId xmlns:a16="http://schemas.microsoft.com/office/drawing/2014/main" id="{366511C4-1E0A-48F3-902D-84D741557AD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72425" y="3671406"/>
            <a:ext cx="914400" cy="914400"/>
          </a:xfrm>
          <a:prstGeom prst="rect">
            <a:avLst/>
          </a:prstGeom>
        </p:spPr>
      </p:pic>
      <p:pic>
        <p:nvPicPr>
          <p:cNvPr id="17" name="Graphic 16" descr="Handshake">
            <a:extLst>
              <a:ext uri="{FF2B5EF4-FFF2-40B4-BE49-F238E27FC236}">
                <a16:creationId xmlns:a16="http://schemas.microsoft.com/office/drawing/2014/main" id="{7D79F1CE-4590-4D14-BCEF-B0AF3C352E1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972425" y="501015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477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D1518-D0BA-478F-A6D2-C5F090094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1648" y="144992"/>
            <a:ext cx="2850041" cy="707267"/>
          </a:xfrm>
        </p:spPr>
        <p:txBody>
          <a:bodyPr vert="horz" lIns="68580" tIns="34291" rIns="68580" bIns="34291" rtlCol="0" anchor="ctr">
            <a:noAutofit/>
          </a:bodyPr>
          <a:lstStyle/>
          <a:p>
            <a:r>
              <a:rPr lang="en-US" sz="4000" dirty="0"/>
              <a:t>Process Flow</a:t>
            </a: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AED1418D-249B-43B8-8938-97A7B78192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68" y="852259"/>
            <a:ext cx="8062913" cy="5700941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118903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31112-E2A1-4CE4-BC0E-B59D74C16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1" y="87608"/>
            <a:ext cx="7765256" cy="51196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Value Addition by Blockchain 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64AE11A-4F95-4BCC-BEC3-6D0A1CA20C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3119437"/>
              </p:ext>
            </p:extLst>
          </p:nvPr>
        </p:nvGraphicFramePr>
        <p:xfrm>
          <a:off x="-133350" y="634794"/>
          <a:ext cx="9410701" cy="6223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Graphic 8" descr="Lock">
            <a:extLst>
              <a:ext uri="{FF2B5EF4-FFF2-40B4-BE49-F238E27FC236}">
                <a16:creationId xmlns:a16="http://schemas.microsoft.com/office/drawing/2014/main" id="{8E0FC0E5-350D-41D9-94CF-563596FB178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44252" y="5191125"/>
            <a:ext cx="914400" cy="914400"/>
          </a:xfrm>
          <a:prstGeom prst="rect">
            <a:avLst/>
          </a:prstGeom>
        </p:spPr>
      </p:pic>
      <p:pic>
        <p:nvPicPr>
          <p:cNvPr id="11" name="Graphic 10" descr="Bank">
            <a:extLst>
              <a:ext uri="{FF2B5EF4-FFF2-40B4-BE49-F238E27FC236}">
                <a16:creationId xmlns:a16="http://schemas.microsoft.com/office/drawing/2014/main" id="{3B575FEE-D934-4B2A-8712-3894CC46E0F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44252" y="1209675"/>
            <a:ext cx="914400" cy="914400"/>
          </a:xfrm>
          <a:prstGeom prst="rect">
            <a:avLst/>
          </a:prstGeom>
        </p:spPr>
      </p:pic>
      <p:pic>
        <p:nvPicPr>
          <p:cNvPr id="4100" name="Picture 4" descr="Ethereum Reviews 2021: Details, Pricing, &amp; Features | G2">
            <a:extLst>
              <a:ext uri="{FF2B5EF4-FFF2-40B4-BE49-F238E27FC236}">
                <a16:creationId xmlns:a16="http://schemas.microsoft.com/office/drawing/2014/main" id="{4FEA1092-83B2-457E-A491-BF9BB507F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2" y="1143002"/>
            <a:ext cx="981075" cy="98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phic 12" descr="Boardroom">
            <a:extLst>
              <a:ext uri="{FF2B5EF4-FFF2-40B4-BE49-F238E27FC236}">
                <a16:creationId xmlns:a16="http://schemas.microsoft.com/office/drawing/2014/main" id="{07C326ED-4780-4DF6-8451-EC0FCA2F39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924675" y="537071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7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519AF-5134-4713-95C5-3F62704AD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7026" y="98431"/>
            <a:ext cx="3733800" cy="815971"/>
          </a:xfrm>
        </p:spPr>
        <p:txBody>
          <a:bodyPr>
            <a:normAutofit/>
          </a:bodyPr>
          <a:lstStyle/>
          <a:p>
            <a:r>
              <a:rPr lang="en-US" sz="4000" dirty="0"/>
              <a:t>Smart Contrac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421D529-C8EC-41A7-93EA-3730F92616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0524726"/>
              </p:ext>
            </p:extLst>
          </p:nvPr>
        </p:nvGraphicFramePr>
        <p:xfrm>
          <a:off x="242888" y="1428752"/>
          <a:ext cx="8501062" cy="21050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1734">
                  <a:extLst>
                    <a:ext uri="{9D8B030D-6E8A-4147-A177-3AD203B41FA5}">
                      <a16:colId xmlns:a16="http://schemas.microsoft.com/office/drawing/2014/main" val="896421407"/>
                    </a:ext>
                  </a:extLst>
                </a:gridCol>
                <a:gridCol w="6779328">
                  <a:extLst>
                    <a:ext uri="{9D8B030D-6E8A-4147-A177-3AD203B41FA5}">
                      <a16:colId xmlns:a16="http://schemas.microsoft.com/office/drawing/2014/main" val="3033763213"/>
                    </a:ext>
                  </a:extLst>
                </a:gridCol>
              </a:tblGrid>
              <a:tr h="3995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Function Name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7004623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Campaig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onstructor function that sets the minimum Contribution and the owne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0782107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Contribute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Called when someone wants to donate money to Charity and become an approver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442627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CreateReques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Called by manager to create new spending request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784220"/>
                  </a:ext>
                </a:extLst>
              </a:tr>
              <a:tr h="3041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ApproveReques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alled by each </a:t>
                      </a:r>
                      <a:r>
                        <a:rPr lang="en-US" sz="1400" dirty="0" err="1">
                          <a:effectLst/>
                        </a:rPr>
                        <a:t>contributer</a:t>
                      </a:r>
                      <a:r>
                        <a:rPr lang="en-US" sz="1400" dirty="0">
                          <a:effectLst/>
                        </a:rPr>
                        <a:t> to approve spending reques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200637"/>
                  </a:ext>
                </a:extLst>
              </a:tr>
              <a:tr h="48865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FinaliseReques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fter a request has got enough approvers, manager can call this to get money sent to a vendo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16940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FD71D1F-6473-4423-A388-2A488613D0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21996"/>
              </p:ext>
            </p:extLst>
          </p:nvPr>
        </p:nvGraphicFramePr>
        <p:xfrm>
          <a:off x="242888" y="4162820"/>
          <a:ext cx="8658224" cy="19542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77496">
                  <a:extLst>
                    <a:ext uri="{9D8B030D-6E8A-4147-A177-3AD203B41FA5}">
                      <a16:colId xmlns:a16="http://schemas.microsoft.com/office/drawing/2014/main" val="988854029"/>
                    </a:ext>
                  </a:extLst>
                </a:gridCol>
                <a:gridCol w="1710266">
                  <a:extLst>
                    <a:ext uri="{9D8B030D-6E8A-4147-A177-3AD203B41FA5}">
                      <a16:colId xmlns:a16="http://schemas.microsoft.com/office/drawing/2014/main" val="3363591573"/>
                    </a:ext>
                  </a:extLst>
                </a:gridCol>
                <a:gridCol w="4970462">
                  <a:extLst>
                    <a:ext uri="{9D8B030D-6E8A-4147-A177-3AD203B41FA5}">
                      <a16:colId xmlns:a16="http://schemas.microsoft.com/office/drawing/2014/main" val="2407961432"/>
                    </a:ext>
                  </a:extLst>
                </a:gridCol>
              </a:tblGrid>
              <a:tr h="46951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jor Variable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DataType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994594"/>
                  </a:ext>
                </a:extLst>
              </a:tr>
              <a:tr h="368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Manager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ddres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ddress of person who's managing the contrac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007366"/>
                  </a:ext>
                </a:extLst>
              </a:tr>
              <a:tr h="368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Minimum Contribution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</a:rPr>
                        <a:t>uin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Min donation required to be considered an Approve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845174"/>
                  </a:ext>
                </a:extLst>
              </a:tr>
              <a:tr h="368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Approver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address[]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ist of addresses for every person who has donated mone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300526"/>
                  </a:ext>
                </a:extLst>
              </a:tr>
              <a:tr h="3806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Request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request[] (Struct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ist of requests that Manager has create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69332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B021091-D45F-44A4-BFCB-3722E931ED41}"/>
              </a:ext>
            </a:extLst>
          </p:cNvPr>
          <p:cNvSpPr txBox="1"/>
          <p:nvPr/>
        </p:nvSpPr>
        <p:spPr>
          <a:xfrm>
            <a:off x="242888" y="971522"/>
            <a:ext cx="2124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Major Functions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CAC1BE-D032-48B4-889A-5689CC2F67D6}"/>
              </a:ext>
            </a:extLst>
          </p:cNvPr>
          <p:cNvSpPr txBox="1"/>
          <p:nvPr/>
        </p:nvSpPr>
        <p:spPr>
          <a:xfrm>
            <a:off x="466725" y="3762710"/>
            <a:ext cx="1371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Variables:</a:t>
            </a:r>
          </a:p>
        </p:txBody>
      </p:sp>
    </p:spTree>
    <p:extLst>
      <p:ext uri="{BB962C8B-B14F-4D97-AF65-F5344CB8AC3E}">
        <p14:creationId xmlns:p14="http://schemas.microsoft.com/office/powerpoint/2010/main" val="1743822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2350" y="202757"/>
            <a:ext cx="8530314" cy="568963"/>
          </a:xfrm>
        </p:spPr>
        <p:txBody>
          <a:bodyPr/>
          <a:lstStyle/>
          <a:p>
            <a:r>
              <a:rPr lang="en-US" sz="4000" b="0" dirty="0">
                <a:latin typeface="Calibri Light" panose="020F0302020204030204" pitchFamily="34" charset="0"/>
                <a:cs typeface="Calibri Light" panose="020F0302020204030204" pitchFamily="34" charset="0"/>
              </a:rPr>
              <a:t>Deploy Campaign on </a:t>
            </a:r>
            <a:r>
              <a:rPr lang="en-US" sz="4000" b="0" noProof="0" dirty="0">
                <a:latin typeface="Calibri Light" panose="020F0302020204030204" pitchFamily="34" charset="0"/>
                <a:cs typeface="Calibri Light" panose="020F0302020204030204" pitchFamily="34" charset="0"/>
              </a:rPr>
              <a:t>Ethereum Network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89821167-81B0-4250-B818-761F2FB4E8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350" y="1572341"/>
            <a:ext cx="3243032" cy="26406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584E677-6513-41AB-A337-48752880D2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399" y="3959996"/>
            <a:ext cx="3185588" cy="160587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1706415-E574-4500-AD6C-3454EDC10068}"/>
              </a:ext>
            </a:extLst>
          </p:cNvPr>
          <p:cNvSpPr txBox="1"/>
          <p:nvPr/>
        </p:nvSpPr>
        <p:spPr>
          <a:xfrm>
            <a:off x="4685552" y="2048815"/>
            <a:ext cx="3735280" cy="11105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914378">
              <a:spcAft>
                <a:spcPts val="1000"/>
              </a:spcAft>
              <a:buSzPct val="100000"/>
            </a:pPr>
            <a:r>
              <a:rPr lang="en-US" sz="1350" dirty="0">
                <a:solidFill>
                  <a:srgbClr val="575757"/>
                </a:solidFill>
                <a:latin typeface="Verdana"/>
              </a:rPr>
              <a:t>Tools Used to Deploy Contract</a:t>
            </a:r>
          </a:p>
          <a:p>
            <a:pPr defTabSz="914378">
              <a:spcAft>
                <a:spcPts val="1000"/>
              </a:spcAft>
              <a:buSzPct val="100000"/>
            </a:pPr>
            <a:r>
              <a:rPr lang="en-US" sz="1050" b="1" dirty="0" err="1">
                <a:solidFill>
                  <a:srgbClr val="575757"/>
                </a:solidFill>
                <a:latin typeface="Verdana"/>
              </a:rPr>
              <a:t>HDWalletProvider</a:t>
            </a:r>
            <a:r>
              <a:rPr lang="en-US" sz="1050" dirty="0">
                <a:solidFill>
                  <a:srgbClr val="575757"/>
                </a:solidFill>
                <a:latin typeface="Verdana"/>
              </a:rPr>
              <a:t>: To handle the transaction signing as well as the connection to the Ethereum network.</a:t>
            </a:r>
          </a:p>
          <a:p>
            <a:pPr defTabSz="914378">
              <a:spcAft>
                <a:spcPts val="1000"/>
              </a:spcAft>
              <a:buSzPct val="100000"/>
            </a:pPr>
            <a:r>
              <a:rPr lang="en-US" sz="1050" b="1" dirty="0" err="1">
                <a:solidFill>
                  <a:srgbClr val="575757"/>
                </a:solidFill>
                <a:latin typeface="Verdana"/>
              </a:rPr>
              <a:t>Infura</a:t>
            </a:r>
            <a:r>
              <a:rPr lang="en-US" sz="1050" b="1" dirty="0">
                <a:solidFill>
                  <a:srgbClr val="575757"/>
                </a:solidFill>
                <a:latin typeface="Verdana"/>
              </a:rPr>
              <a:t>: </a:t>
            </a:r>
            <a:r>
              <a:rPr lang="en-US" sz="1050" dirty="0">
                <a:solidFill>
                  <a:srgbClr val="575757"/>
                </a:solidFill>
                <a:latin typeface="Verdana"/>
              </a:rPr>
              <a:t>Helps to connect easily to Web 3.0 without having to spin-up and maintain our own infrastru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A6DAA2-1296-42C9-A3F2-6D3F396A6F1B}"/>
              </a:ext>
            </a:extLst>
          </p:cNvPr>
          <p:cNvSpPr txBox="1"/>
          <p:nvPr/>
        </p:nvSpPr>
        <p:spPr>
          <a:xfrm>
            <a:off x="412350" y="4434069"/>
            <a:ext cx="3309613" cy="82073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914378">
              <a:spcAft>
                <a:spcPts val="1000"/>
              </a:spcAft>
              <a:buSzPct val="100000"/>
            </a:pPr>
            <a:r>
              <a:rPr lang="en-US" sz="1350" dirty="0">
                <a:solidFill>
                  <a:srgbClr val="575757"/>
                </a:solidFill>
                <a:latin typeface="Verdana"/>
              </a:rPr>
              <a:t>Ethereum Network Used</a:t>
            </a:r>
          </a:p>
          <a:p>
            <a:pPr defTabSz="914378">
              <a:spcAft>
                <a:spcPts val="1000"/>
              </a:spcAft>
              <a:buSzPct val="100000"/>
            </a:pPr>
            <a:r>
              <a:rPr lang="en-US" sz="1050" b="1" dirty="0" err="1">
                <a:solidFill>
                  <a:srgbClr val="575757"/>
                </a:solidFill>
                <a:latin typeface="Verdana"/>
              </a:rPr>
              <a:t>Ropsten</a:t>
            </a:r>
            <a:r>
              <a:rPr lang="en-US" sz="1050" b="1" dirty="0">
                <a:solidFill>
                  <a:srgbClr val="575757"/>
                </a:solidFill>
                <a:latin typeface="Verdana"/>
              </a:rPr>
              <a:t> Test Network: </a:t>
            </a:r>
            <a:r>
              <a:rPr lang="en-US" sz="1050" dirty="0">
                <a:solidFill>
                  <a:srgbClr val="575757"/>
                </a:solidFill>
                <a:latin typeface="Verdana"/>
              </a:rPr>
              <a:t>Allows blockchain developers to test their work in a live setting, but without the need for real ETH</a:t>
            </a:r>
            <a:endParaRPr lang="en-US" sz="1350" dirty="0">
              <a:solidFill>
                <a:srgbClr val="575757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7654377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3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5.xml><?xml version="1.0" encoding="utf-8"?>
<a:theme xmlns:a="http://schemas.openxmlformats.org/drawingml/2006/main" name="4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6.xml><?xml version="1.0" encoding="utf-8"?>
<a:theme xmlns:a="http://schemas.openxmlformats.org/drawingml/2006/main" name="5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7.xml><?xml version="1.0" encoding="utf-8"?>
<a:theme xmlns:a="http://schemas.openxmlformats.org/drawingml/2006/main" name="6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8.xml><?xml version="1.0" encoding="utf-8"?>
<a:theme xmlns:a="http://schemas.openxmlformats.org/drawingml/2006/main" name="7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829</Words>
  <Application>Microsoft Office PowerPoint</Application>
  <PresentationFormat>On-screen Show (4:3)</PresentationFormat>
  <Paragraphs>113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7" baseType="lpstr">
      <vt:lpstr>Arial</vt:lpstr>
      <vt:lpstr>Calibri</vt:lpstr>
      <vt:lpstr>Calibri Light</vt:lpstr>
      <vt:lpstr>Verdana</vt:lpstr>
      <vt:lpstr>Wingdings</vt:lpstr>
      <vt:lpstr>Office Theme</vt:lpstr>
      <vt:lpstr>1_Deloitte_US_Onscreen</vt:lpstr>
      <vt:lpstr>2_Deloitte_US_Onscreen</vt:lpstr>
      <vt:lpstr>3_Deloitte_US_Onscreen</vt:lpstr>
      <vt:lpstr>4_Deloitte_US_Onscreen</vt:lpstr>
      <vt:lpstr>5_Deloitte_US_Onscreen</vt:lpstr>
      <vt:lpstr>6_Deloitte_US_Onscreen</vt:lpstr>
      <vt:lpstr>7_Deloitte_US_Onscreen</vt:lpstr>
      <vt:lpstr>think-cell Slide</vt:lpstr>
      <vt:lpstr>PowerPoint Presentation</vt:lpstr>
      <vt:lpstr>Introduction – Siddharth Gargava</vt:lpstr>
      <vt:lpstr>Business Case</vt:lpstr>
      <vt:lpstr>Solution: Covid Donation Manager</vt:lpstr>
      <vt:lpstr>Technical Aspects</vt:lpstr>
      <vt:lpstr>Process Flow</vt:lpstr>
      <vt:lpstr>Value Addition by Blockchain </vt:lpstr>
      <vt:lpstr>Smart Contract</vt:lpstr>
      <vt:lpstr>Deploy Campaign on Ethereum Network</vt:lpstr>
      <vt:lpstr>Front-end Flow</vt:lpstr>
      <vt:lpstr>Tools Used</vt:lpstr>
      <vt:lpstr>PowerPoint Presentation</vt:lpstr>
      <vt:lpstr>Future Development Aspe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gava, Siddharth</dc:creator>
  <cp:lastModifiedBy>Gargava, Siddharth</cp:lastModifiedBy>
  <cp:revision>2</cp:revision>
  <dcterms:created xsi:type="dcterms:W3CDTF">2021-03-18T16:30:07Z</dcterms:created>
  <dcterms:modified xsi:type="dcterms:W3CDTF">2021-03-18T16:34:23Z</dcterms:modified>
</cp:coreProperties>
</file>